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4"/>
    <p:sldMasterId id="2147483671" r:id="rId5"/>
  </p:sldMasterIdLst>
  <p:notesMasterIdLst>
    <p:notesMasterId r:id="rId13"/>
  </p:notesMasterIdLst>
  <p:handoutMasterIdLst>
    <p:handoutMasterId r:id="rId14"/>
  </p:handoutMasterIdLst>
  <p:sldIdLst>
    <p:sldId id="453" r:id="rId6"/>
    <p:sldId id="460" r:id="rId7"/>
    <p:sldId id="440" r:id="rId8"/>
    <p:sldId id="443" r:id="rId9"/>
    <p:sldId id="446" r:id="rId10"/>
    <p:sldId id="445" r:id="rId11"/>
    <p:sldId id="417" r:id="rId12"/>
  </p:sldIdLst>
  <p:sldSz cx="9906000" cy="6858000" type="A4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12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872C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413" autoAdjust="0"/>
    <p:restoredTop sz="91219" autoAdjust="0"/>
  </p:normalViewPr>
  <p:slideViewPr>
    <p:cSldViewPr>
      <p:cViewPr varScale="1">
        <p:scale>
          <a:sx n="69" d="100"/>
          <a:sy n="69" d="100"/>
        </p:scale>
        <p:origin x="1040" y="52"/>
      </p:cViewPr>
      <p:guideLst>
        <p:guide orient="horz" pos="2160"/>
        <p:guide pos="3120"/>
      </p:guideLst>
    </p:cSldViewPr>
  </p:slideViewPr>
  <p:outlineViewPr>
    <p:cViewPr>
      <p:scale>
        <a:sx n="33" d="100"/>
        <a:sy n="33" d="100"/>
      </p:scale>
      <p:origin x="0" y="396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>
      <p:cViewPr varScale="1">
        <p:scale>
          <a:sx n="83" d="100"/>
          <a:sy n="83" d="100"/>
        </p:scale>
        <p:origin x="-1992" y="-90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notesMaster" Target="notesMasters/notesMaster1.xml"/><Relationship Id="rId18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5" Type="http://schemas.openxmlformats.org/officeDocument/2006/relationships/slideMaster" Target="slideMasters/slideMaster2.xml"/><Relationship Id="rId15" Type="http://schemas.openxmlformats.org/officeDocument/2006/relationships/presProps" Target="presProps.xml"/><Relationship Id="rId10" Type="http://schemas.openxmlformats.org/officeDocument/2006/relationships/slide" Target="slides/slide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handoutMaster" Target="handoutMasters/handoutMaster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6858000" cy="457200"/>
          </a:xfrm>
          <a:prstGeom prst="rect">
            <a:avLst/>
          </a:prstGeom>
        </p:spPr>
        <p:txBody>
          <a:bodyPr vert="horz" lIns="72000" tIns="180000" rIns="288000" bIns="36000" rtlCol="0"/>
          <a:lstStyle>
            <a:lvl1pPr algn="l">
              <a:defRPr sz="1200"/>
            </a:lvl1pPr>
          </a:lstStyle>
          <a:p>
            <a:pPr algn="r"/>
            <a:endParaRPr lang="en-US" sz="1400" b="1" dirty="0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180000" tIns="36000" rIns="72000" bIns="180000" rtlCol="0" anchor="b"/>
          <a:lstStyle>
            <a:lvl1pPr algn="l">
              <a:defRPr sz="1200"/>
            </a:lvl1pPr>
          </a:lstStyle>
          <a:p>
            <a:r>
              <a:rPr lang="en-US" sz="800" dirty="0" smtClean="0"/>
              <a:t>© 2014 Capgemini. All rights reserved.</a:t>
            </a:r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72000" tIns="36000" rIns="180000" bIns="180000" rtlCol="0" anchor="b"/>
          <a:lstStyle>
            <a:lvl1pPr algn="r">
              <a:defRPr sz="1200"/>
            </a:lvl1pPr>
          </a:lstStyle>
          <a:p>
            <a:fld id="{31BBAEFF-FCA4-4EA1-946D-1EE330CB54A8}" type="slidenum">
              <a:rPr lang="en-US" sz="800" b="1" smtClean="0"/>
              <a:pPr/>
              <a:t>‹#›</a:t>
            </a:fld>
            <a:endParaRPr lang="en-US" sz="800" b="1" dirty="0" smtClean="0"/>
          </a:p>
        </p:txBody>
      </p:sp>
    </p:spTree>
    <p:extLst>
      <p:ext uri="{BB962C8B-B14F-4D97-AF65-F5344CB8AC3E}">
        <p14:creationId xmlns:p14="http://schemas.microsoft.com/office/powerpoint/2010/main" val="2231247264"/>
      </p:ext>
    </p:extLst>
  </p:cSld>
  <p:clrMap bg1="lt1" tx1="dk1" bg2="lt2" tx2="dk2" accent1="accent1" accent2="accent2" accent3="accent3" accent4="accent4" accent5="accent5" accent6="accent6" hlink="hlink" folHlink="folHlink"/>
  <p:hf hd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6858000" cy="457200"/>
          </a:xfrm>
          <a:prstGeom prst="rect">
            <a:avLst/>
          </a:prstGeom>
        </p:spPr>
        <p:txBody>
          <a:bodyPr vert="horz" lIns="72000" tIns="180000" rIns="288000" bIns="36000" rtlCol="0"/>
          <a:lstStyle>
            <a:lvl1pPr algn="r">
              <a:defRPr sz="1400" b="1"/>
            </a:lvl1pPr>
          </a:lstStyle>
          <a:p>
            <a:endParaRPr lang="en-US" dirty="0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787360" y="571472"/>
            <a:ext cx="5283280" cy="3657656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Espace réservé des commentaires 4"/>
          <p:cNvSpPr>
            <a:spLocks noGrp="1"/>
          </p:cNvSpPr>
          <p:nvPr>
            <p:ph type="body" sz="quarter" idx="3"/>
          </p:nvPr>
        </p:nvSpPr>
        <p:spPr>
          <a:xfrm>
            <a:off x="214290" y="4343400"/>
            <a:ext cx="6429420" cy="422912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r-FR" dirty="0" smtClean="0"/>
              <a:t>Cliquez pour modifier les styles du texte du masque</a:t>
            </a:r>
          </a:p>
          <a:p>
            <a:pPr lvl="1"/>
            <a:r>
              <a:rPr lang="fr-FR" dirty="0" smtClean="0"/>
              <a:t>Deuxième niveau</a:t>
            </a:r>
          </a:p>
          <a:p>
            <a:pPr lvl="2"/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  <a:p>
            <a:pPr lvl="4"/>
            <a:r>
              <a:rPr lang="fr-FR" dirty="0" smtClean="0"/>
              <a:t>Cinquième niveau</a:t>
            </a:r>
            <a:endParaRPr lang="en-US" dirty="0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180000" tIns="36000" rIns="72000" bIns="180000" rtlCol="0" anchor="b"/>
          <a:lstStyle>
            <a:lvl1pPr algn="l">
              <a:defRPr sz="800"/>
            </a:lvl1pPr>
          </a:lstStyle>
          <a:p>
            <a:r>
              <a:rPr lang="en-US" dirty="0" smtClean="0"/>
              <a:t>© 2014 Capgemini. All rights reserved.</a:t>
            </a:r>
            <a:endParaRPr lang="en-US" dirty="0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72000" tIns="36000" rIns="180000" bIns="180000" rtlCol="0" anchor="b"/>
          <a:lstStyle>
            <a:lvl1pPr algn="r">
              <a:defRPr sz="800" b="1"/>
            </a:lvl1pPr>
          </a:lstStyle>
          <a:p>
            <a:fld id="{CBC04D6F-FB7D-4867-9F14-E50918222406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36986369"/>
      </p:ext>
    </p:extLst>
  </p:cSld>
  <p:clrMap bg1="lt1" tx1="dk1" bg2="lt2" tx2="dk2" accent1="accent1" accent2="accent2" accent3="accent3" accent4="accent4" accent5="accent5" accent6="accent6" hlink="hlink" folHlink="folHlink"/>
  <p:hf hd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180975" indent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360363" indent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541338" indent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722313" indent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87400" y="571500"/>
            <a:ext cx="5283200" cy="36576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smtClean="0"/>
              <a:t>© 2014 Capgemini. All rights reserved.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BC04D6F-FB7D-4867-9F14-E50918222406}" type="slidenum">
              <a:rPr lang="en-US" smtClean="0"/>
              <a:pPr/>
              <a:t>1</a:t>
            </a:fld>
            <a:endParaRPr lang="en-US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Cover-Peo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 9" descr="ppt_ExpertsMosaic_Color.jpg"/>
          <p:cNvPicPr>
            <a:picLocks noChangeAspect="1"/>
          </p:cNvPicPr>
          <p:nvPr userDrawn="1"/>
        </p:nvPicPr>
        <p:blipFill>
          <a:blip r:embed="rId3" cstate="print"/>
          <a:srcRect t="19317"/>
          <a:stretch>
            <a:fillRect/>
          </a:stretch>
        </p:blipFill>
        <p:spPr>
          <a:xfrm>
            <a:off x="0" y="1285860"/>
            <a:ext cx="9906000" cy="5572140"/>
          </a:xfrm>
          <a:prstGeom prst="rect">
            <a:avLst/>
          </a:prstGeom>
        </p:spPr>
      </p:pic>
      <p:sp>
        <p:nvSpPr>
          <p:cNvPr id="14" name="Freeform 30"/>
          <p:cNvSpPr>
            <a:spLocks/>
          </p:cNvSpPr>
          <p:nvPr userDrawn="1">
            <p:custDataLst>
              <p:tags r:id="rId1"/>
            </p:custDataLst>
          </p:nvPr>
        </p:nvSpPr>
        <p:spPr bwMode="white">
          <a:xfrm>
            <a:off x="-15875" y="1146175"/>
            <a:ext cx="9921875" cy="5711825"/>
          </a:xfrm>
          <a:custGeom>
            <a:avLst/>
            <a:gdLst/>
            <a:ahLst/>
            <a:cxnLst>
              <a:cxn ang="0">
                <a:pos x="0" y="3638"/>
              </a:cxn>
              <a:cxn ang="0">
                <a:pos x="516" y="2658"/>
              </a:cxn>
              <a:cxn ang="0">
                <a:pos x="1352" y="2063"/>
              </a:cxn>
              <a:cxn ang="0">
                <a:pos x="3348" y="1519"/>
              </a:cxn>
              <a:cxn ang="0">
                <a:pos x="4987" y="1078"/>
              </a:cxn>
              <a:cxn ang="0">
                <a:pos x="5762" y="534"/>
              </a:cxn>
              <a:cxn ang="0">
                <a:pos x="5762" y="66"/>
              </a:cxn>
              <a:cxn ang="0">
                <a:pos x="4" y="68"/>
              </a:cxn>
            </a:cxnLst>
            <a:rect l="0" t="0" r="r" b="b"/>
            <a:pathLst>
              <a:path w="5762" h="3638">
                <a:moveTo>
                  <a:pt x="0" y="3638"/>
                </a:moveTo>
                <a:cubicBezTo>
                  <a:pt x="58" y="3452"/>
                  <a:pt x="291" y="2920"/>
                  <a:pt x="516" y="2658"/>
                </a:cubicBezTo>
                <a:cubicBezTo>
                  <a:pt x="794" y="2320"/>
                  <a:pt x="1284" y="2093"/>
                  <a:pt x="1352" y="2063"/>
                </a:cubicBezTo>
                <a:cubicBezTo>
                  <a:pt x="1942" y="1786"/>
                  <a:pt x="2872" y="1624"/>
                  <a:pt x="3348" y="1519"/>
                </a:cubicBezTo>
                <a:cubicBezTo>
                  <a:pt x="3895" y="1390"/>
                  <a:pt x="4592" y="1228"/>
                  <a:pt x="4987" y="1078"/>
                </a:cubicBezTo>
                <a:cubicBezTo>
                  <a:pt x="5384" y="933"/>
                  <a:pt x="5632" y="702"/>
                  <a:pt x="5762" y="534"/>
                </a:cubicBezTo>
                <a:cubicBezTo>
                  <a:pt x="5762" y="0"/>
                  <a:pt x="5762" y="61"/>
                  <a:pt x="5762" y="66"/>
                </a:cubicBezTo>
                <a:cubicBezTo>
                  <a:pt x="4803" y="66"/>
                  <a:pt x="1204" y="68"/>
                  <a:pt x="4" y="68"/>
                </a:cubicBezTo>
              </a:path>
            </a:pathLst>
          </a:custGeom>
          <a:gradFill flip="none" rotWithShape="1">
            <a:gsLst>
              <a:gs pos="0">
                <a:schemeClr val="tx2">
                  <a:alpha val="90000"/>
                </a:schemeClr>
              </a:gs>
              <a:gs pos="0">
                <a:schemeClr val="tx2">
                  <a:alpha val="90000"/>
                </a:schemeClr>
              </a:gs>
              <a:gs pos="100000">
                <a:schemeClr val="tx2">
                  <a:shade val="100000"/>
                  <a:satMod val="115000"/>
                </a:schemeClr>
              </a:gs>
            </a:gsLst>
            <a:lin ang="2700000" scaled="0"/>
            <a:tileRect/>
          </a:gradFill>
          <a:ln w="19050" cap="flat" cmpd="sng">
            <a:noFill/>
            <a:prstDash val="solid"/>
            <a:round/>
            <a:headEnd type="none" w="med" len="med"/>
            <a:tailEnd type="none" w="med" len="me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wrap="none" anchor="ctr"/>
          <a:lstStyle/>
          <a:p>
            <a:pPr algn="ctr" eaLnBrk="0" hangingPunct="0">
              <a:lnSpc>
                <a:spcPct val="85000"/>
              </a:lnSpc>
              <a:defRPr/>
            </a:pPr>
            <a:endParaRPr lang="en-US" noProof="0" dirty="0"/>
          </a:p>
        </p:txBody>
      </p:sp>
      <p:pic>
        <p:nvPicPr>
          <p:cNvPr id="9" name="Picture 6" descr="OK_Capgemini"/>
          <p:cNvPicPr>
            <a:picLocks noChangeAspect="1" noChangeArrowheads="1"/>
          </p:cNvPicPr>
          <p:nvPr userDrawn="1"/>
        </p:nvPicPr>
        <p:blipFill>
          <a:blip r:embed="rId4" cstate="screen"/>
          <a:srcRect/>
          <a:stretch>
            <a:fillRect/>
          </a:stretch>
        </p:blipFill>
        <p:spPr bwMode="auto">
          <a:xfrm>
            <a:off x="328613" y="368300"/>
            <a:ext cx="2159000" cy="509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099" name="Rectangle 3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0" y="2801938"/>
            <a:ext cx="5293519" cy="792162"/>
          </a:xfrm>
        </p:spPr>
        <p:txBody>
          <a:bodyPr lIns="324000" tIns="180000" rIns="0"/>
          <a:lstStyle>
            <a:lvl1pPr marL="3175" indent="0">
              <a:buFont typeface="Wingdings" pitchFamily="2" charset="2"/>
              <a:buNone/>
              <a:defRPr sz="2000">
                <a:solidFill>
                  <a:schemeClr val="bg1"/>
                </a:solidFill>
                <a:latin typeface="Arial Narrow" pitchFamily="34" charset="0"/>
              </a:defRPr>
            </a:lvl1pPr>
          </a:lstStyle>
          <a:p>
            <a:r>
              <a:rPr lang="en-US" noProof="0" dirty="0" smtClean="0"/>
              <a:t>Click to edit Master sub-title style</a:t>
            </a:r>
            <a:endParaRPr lang="en-US" noProof="0" dirty="0"/>
          </a:p>
        </p:txBody>
      </p:sp>
      <p:sp>
        <p:nvSpPr>
          <p:cNvPr id="4098" name="Rectangle 2"/>
          <p:cNvSpPr>
            <a:spLocks noGrp="1" noChangeArrowheads="1"/>
          </p:cNvSpPr>
          <p:nvPr>
            <p:ph type="ctrTitle" hasCustomPrompt="1"/>
          </p:nvPr>
        </p:nvSpPr>
        <p:spPr bwMode="auto">
          <a:xfrm>
            <a:off x="0" y="1240390"/>
            <a:ext cx="9906000" cy="1512887"/>
          </a:xfrm>
        </p:spPr>
        <p:txBody>
          <a:bodyPr lIns="324000" tIns="396000" rIns="36000" bIns="36000" anchor="t"/>
          <a:lstStyle>
            <a:lvl1pPr marL="0" indent="0" algn="l">
              <a:tabLst/>
              <a:defRPr sz="3600">
                <a:solidFill>
                  <a:schemeClr val="tx2">
                    <a:lumMod val="20000"/>
                    <a:lumOff val="80000"/>
                  </a:schemeClr>
                </a:solidFill>
                <a:latin typeface="Arial Narrow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pic>
        <p:nvPicPr>
          <p:cNvPr id="8" name="Image 7" descr="Capgemini_Slogan_RGB.png"/>
          <p:cNvPicPr>
            <a:picLocks noChangeAspect="1"/>
          </p:cNvPicPr>
          <p:nvPr userDrawn="1"/>
        </p:nvPicPr>
        <p:blipFill>
          <a:blip r:embed="rId5" cstate="print"/>
          <a:stretch>
            <a:fillRect/>
          </a:stretch>
        </p:blipFill>
        <p:spPr>
          <a:xfrm>
            <a:off x="6164480" y="373713"/>
            <a:ext cx="3482792" cy="360000"/>
          </a:xfrm>
          <a:prstGeom prst="rect">
            <a:avLst/>
          </a:prstGeom>
        </p:spPr>
      </p:pic>
      <p:sp>
        <p:nvSpPr>
          <p:cNvPr id="11" name="ZoneTexte 10"/>
          <p:cNvSpPr txBox="1"/>
          <p:nvPr userDrawn="1"/>
        </p:nvSpPr>
        <p:spPr>
          <a:xfrm>
            <a:off x="7926484" y="1214422"/>
            <a:ext cx="197951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b="1" dirty="0" smtClean="0">
                <a:solidFill>
                  <a:schemeClr val="accent2"/>
                </a:solidFill>
              </a:rPr>
              <a:t>For internal use only</a:t>
            </a:r>
            <a:endParaRPr lang="en-US" sz="1400" b="1" dirty="0">
              <a:solidFill>
                <a:schemeClr val="accent2"/>
              </a:solidFill>
            </a:endParaRPr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de section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7"/>
          <p:cNvSpPr>
            <a:spLocks/>
          </p:cNvSpPr>
          <p:nvPr userDrawn="1"/>
        </p:nvSpPr>
        <p:spPr bwMode="auto">
          <a:xfrm>
            <a:off x="0" y="-38100"/>
            <a:ext cx="9929813" cy="6896100"/>
          </a:xfrm>
          <a:custGeom>
            <a:avLst/>
            <a:gdLst/>
            <a:ahLst/>
            <a:cxnLst>
              <a:cxn ang="0">
                <a:pos x="0" y="3797"/>
              </a:cxn>
              <a:cxn ang="0">
                <a:pos x="0" y="3252"/>
              </a:cxn>
              <a:cxn ang="0">
                <a:pos x="0" y="2159"/>
              </a:cxn>
              <a:cxn ang="0">
                <a:pos x="0" y="1611"/>
              </a:cxn>
              <a:cxn ang="0">
                <a:pos x="0" y="523"/>
              </a:cxn>
              <a:cxn ang="0">
                <a:pos x="0" y="387"/>
              </a:cxn>
              <a:cxn ang="0">
                <a:pos x="5760" y="9"/>
              </a:cxn>
              <a:cxn ang="0">
                <a:pos x="5760" y="312"/>
              </a:cxn>
              <a:cxn ang="0">
                <a:pos x="5760" y="377"/>
              </a:cxn>
              <a:cxn ang="0">
                <a:pos x="5760" y="786"/>
              </a:cxn>
              <a:cxn ang="0">
                <a:pos x="5760" y="1060"/>
              </a:cxn>
              <a:cxn ang="0">
                <a:pos x="5760" y="1262"/>
              </a:cxn>
              <a:cxn ang="0">
                <a:pos x="5758" y="1283"/>
              </a:cxn>
              <a:cxn ang="0">
                <a:pos x="5747" y="1301"/>
              </a:cxn>
              <a:cxn ang="0">
                <a:pos x="5719" y="1339"/>
              </a:cxn>
              <a:cxn ang="0">
                <a:pos x="5650" y="1406"/>
              </a:cxn>
              <a:cxn ang="0">
                <a:pos x="5597" y="1445"/>
              </a:cxn>
              <a:cxn ang="0">
                <a:pos x="5480" y="1515"/>
              </a:cxn>
              <a:cxn ang="0">
                <a:pos x="5295" y="1608"/>
              </a:cxn>
              <a:cxn ang="0">
                <a:pos x="5161" y="1663"/>
              </a:cxn>
              <a:cxn ang="0">
                <a:pos x="4893" y="1759"/>
              </a:cxn>
              <a:cxn ang="0">
                <a:pos x="4615" y="1845"/>
              </a:cxn>
              <a:cxn ang="0">
                <a:pos x="4188" y="1958"/>
              </a:cxn>
              <a:cxn ang="0">
                <a:pos x="3902" y="2027"/>
              </a:cxn>
              <a:cxn ang="0">
                <a:pos x="3614" y="2089"/>
              </a:cxn>
              <a:cxn ang="0">
                <a:pos x="2993" y="2192"/>
              </a:cxn>
              <a:cxn ang="0">
                <a:pos x="2444" y="2281"/>
              </a:cxn>
              <a:cxn ang="0">
                <a:pos x="2160" y="2348"/>
              </a:cxn>
              <a:cxn ang="0">
                <a:pos x="1880" y="2427"/>
              </a:cxn>
              <a:cxn ang="0">
                <a:pos x="1609" y="2517"/>
              </a:cxn>
              <a:cxn ang="0">
                <a:pos x="1410" y="2596"/>
              </a:cxn>
              <a:cxn ang="0">
                <a:pos x="1284" y="2655"/>
              </a:cxn>
              <a:cxn ang="0">
                <a:pos x="1102" y="2749"/>
              </a:cxn>
              <a:cxn ang="0">
                <a:pos x="931" y="2859"/>
              </a:cxn>
              <a:cxn ang="0">
                <a:pos x="822" y="2938"/>
              </a:cxn>
              <a:cxn ang="0">
                <a:pos x="672" y="3069"/>
              </a:cxn>
              <a:cxn ang="0">
                <a:pos x="531" y="3207"/>
              </a:cxn>
              <a:cxn ang="0">
                <a:pos x="447" y="3308"/>
              </a:cxn>
              <a:cxn ang="0">
                <a:pos x="329" y="3468"/>
              </a:cxn>
              <a:cxn ang="0">
                <a:pos x="227" y="3636"/>
              </a:cxn>
              <a:cxn ang="0">
                <a:pos x="167" y="3755"/>
              </a:cxn>
              <a:cxn ang="0">
                <a:pos x="92" y="3940"/>
              </a:cxn>
              <a:cxn ang="0">
                <a:pos x="35" y="4130"/>
              </a:cxn>
              <a:cxn ang="0">
                <a:pos x="7" y="4268"/>
              </a:cxn>
            </a:cxnLst>
            <a:rect l="0" t="0" r="r" b="b"/>
            <a:pathLst>
              <a:path w="5760" h="4339">
                <a:moveTo>
                  <a:pt x="0" y="4339"/>
                </a:moveTo>
                <a:lnTo>
                  <a:pt x="0" y="4339"/>
                </a:lnTo>
                <a:lnTo>
                  <a:pt x="0" y="3797"/>
                </a:lnTo>
                <a:lnTo>
                  <a:pt x="0" y="3797"/>
                </a:lnTo>
                <a:lnTo>
                  <a:pt x="0" y="3252"/>
                </a:lnTo>
                <a:lnTo>
                  <a:pt x="0" y="3252"/>
                </a:lnTo>
                <a:lnTo>
                  <a:pt x="0" y="2705"/>
                </a:lnTo>
                <a:lnTo>
                  <a:pt x="0" y="2705"/>
                </a:lnTo>
                <a:lnTo>
                  <a:pt x="0" y="2159"/>
                </a:lnTo>
                <a:lnTo>
                  <a:pt x="0" y="2159"/>
                </a:lnTo>
                <a:lnTo>
                  <a:pt x="0" y="1611"/>
                </a:lnTo>
                <a:lnTo>
                  <a:pt x="0" y="1611"/>
                </a:lnTo>
                <a:lnTo>
                  <a:pt x="0" y="1066"/>
                </a:lnTo>
                <a:lnTo>
                  <a:pt x="0" y="1066"/>
                </a:lnTo>
                <a:lnTo>
                  <a:pt x="0" y="523"/>
                </a:lnTo>
                <a:lnTo>
                  <a:pt x="0" y="523"/>
                </a:lnTo>
                <a:lnTo>
                  <a:pt x="0" y="387"/>
                </a:lnTo>
                <a:lnTo>
                  <a:pt x="0" y="387"/>
                </a:lnTo>
                <a:lnTo>
                  <a:pt x="0" y="0"/>
                </a:lnTo>
                <a:lnTo>
                  <a:pt x="155" y="9"/>
                </a:lnTo>
                <a:lnTo>
                  <a:pt x="5760" y="9"/>
                </a:lnTo>
                <a:lnTo>
                  <a:pt x="5760" y="310"/>
                </a:lnTo>
                <a:lnTo>
                  <a:pt x="5760" y="312"/>
                </a:lnTo>
                <a:lnTo>
                  <a:pt x="5760" y="312"/>
                </a:lnTo>
                <a:lnTo>
                  <a:pt x="5760" y="344"/>
                </a:lnTo>
                <a:lnTo>
                  <a:pt x="5760" y="377"/>
                </a:lnTo>
                <a:lnTo>
                  <a:pt x="5760" y="377"/>
                </a:lnTo>
                <a:lnTo>
                  <a:pt x="5760" y="512"/>
                </a:lnTo>
                <a:lnTo>
                  <a:pt x="5760" y="512"/>
                </a:lnTo>
                <a:lnTo>
                  <a:pt x="5760" y="786"/>
                </a:lnTo>
                <a:lnTo>
                  <a:pt x="5760" y="786"/>
                </a:lnTo>
                <a:lnTo>
                  <a:pt x="5760" y="1060"/>
                </a:lnTo>
                <a:lnTo>
                  <a:pt x="5760" y="1060"/>
                </a:lnTo>
                <a:lnTo>
                  <a:pt x="5760" y="1195"/>
                </a:lnTo>
                <a:lnTo>
                  <a:pt x="5760" y="1195"/>
                </a:lnTo>
                <a:lnTo>
                  <a:pt x="5760" y="1262"/>
                </a:lnTo>
                <a:lnTo>
                  <a:pt x="5760" y="1262"/>
                </a:lnTo>
                <a:lnTo>
                  <a:pt x="5758" y="1276"/>
                </a:lnTo>
                <a:lnTo>
                  <a:pt x="5758" y="1283"/>
                </a:lnTo>
                <a:lnTo>
                  <a:pt x="5755" y="1289"/>
                </a:lnTo>
                <a:lnTo>
                  <a:pt x="5755" y="1289"/>
                </a:lnTo>
                <a:lnTo>
                  <a:pt x="5747" y="1301"/>
                </a:lnTo>
                <a:lnTo>
                  <a:pt x="5740" y="1315"/>
                </a:lnTo>
                <a:lnTo>
                  <a:pt x="5740" y="1315"/>
                </a:lnTo>
                <a:lnTo>
                  <a:pt x="5719" y="1339"/>
                </a:lnTo>
                <a:lnTo>
                  <a:pt x="5699" y="1363"/>
                </a:lnTo>
                <a:lnTo>
                  <a:pt x="5674" y="1385"/>
                </a:lnTo>
                <a:lnTo>
                  <a:pt x="5650" y="1406"/>
                </a:lnTo>
                <a:lnTo>
                  <a:pt x="5650" y="1406"/>
                </a:lnTo>
                <a:lnTo>
                  <a:pt x="5624" y="1426"/>
                </a:lnTo>
                <a:lnTo>
                  <a:pt x="5597" y="1445"/>
                </a:lnTo>
                <a:lnTo>
                  <a:pt x="5541" y="1481"/>
                </a:lnTo>
                <a:lnTo>
                  <a:pt x="5541" y="1481"/>
                </a:lnTo>
                <a:lnTo>
                  <a:pt x="5480" y="1515"/>
                </a:lnTo>
                <a:lnTo>
                  <a:pt x="5419" y="1548"/>
                </a:lnTo>
                <a:lnTo>
                  <a:pt x="5356" y="1579"/>
                </a:lnTo>
                <a:lnTo>
                  <a:pt x="5295" y="1608"/>
                </a:lnTo>
                <a:lnTo>
                  <a:pt x="5295" y="1608"/>
                </a:lnTo>
                <a:lnTo>
                  <a:pt x="5229" y="1636"/>
                </a:lnTo>
                <a:lnTo>
                  <a:pt x="5161" y="1663"/>
                </a:lnTo>
                <a:lnTo>
                  <a:pt x="5096" y="1689"/>
                </a:lnTo>
                <a:lnTo>
                  <a:pt x="5028" y="1713"/>
                </a:lnTo>
                <a:lnTo>
                  <a:pt x="4893" y="1759"/>
                </a:lnTo>
                <a:lnTo>
                  <a:pt x="4756" y="1804"/>
                </a:lnTo>
                <a:lnTo>
                  <a:pt x="4756" y="1804"/>
                </a:lnTo>
                <a:lnTo>
                  <a:pt x="4615" y="1845"/>
                </a:lnTo>
                <a:lnTo>
                  <a:pt x="4472" y="1885"/>
                </a:lnTo>
                <a:lnTo>
                  <a:pt x="4332" y="1920"/>
                </a:lnTo>
                <a:lnTo>
                  <a:pt x="4188" y="1958"/>
                </a:lnTo>
                <a:lnTo>
                  <a:pt x="4188" y="1958"/>
                </a:lnTo>
                <a:lnTo>
                  <a:pt x="4046" y="1993"/>
                </a:lnTo>
                <a:lnTo>
                  <a:pt x="3902" y="2027"/>
                </a:lnTo>
                <a:lnTo>
                  <a:pt x="3758" y="2059"/>
                </a:lnTo>
                <a:lnTo>
                  <a:pt x="3614" y="2089"/>
                </a:lnTo>
                <a:lnTo>
                  <a:pt x="3614" y="2089"/>
                </a:lnTo>
                <a:lnTo>
                  <a:pt x="3511" y="2108"/>
                </a:lnTo>
                <a:lnTo>
                  <a:pt x="3363" y="2133"/>
                </a:lnTo>
                <a:lnTo>
                  <a:pt x="2993" y="2192"/>
                </a:lnTo>
                <a:lnTo>
                  <a:pt x="2641" y="2248"/>
                </a:lnTo>
                <a:lnTo>
                  <a:pt x="2515" y="2267"/>
                </a:lnTo>
                <a:lnTo>
                  <a:pt x="2444" y="2281"/>
                </a:lnTo>
                <a:lnTo>
                  <a:pt x="2444" y="2281"/>
                </a:lnTo>
                <a:lnTo>
                  <a:pt x="2302" y="2312"/>
                </a:lnTo>
                <a:lnTo>
                  <a:pt x="2160" y="2348"/>
                </a:lnTo>
                <a:lnTo>
                  <a:pt x="2018" y="2386"/>
                </a:lnTo>
                <a:lnTo>
                  <a:pt x="1880" y="2427"/>
                </a:lnTo>
                <a:lnTo>
                  <a:pt x="1880" y="2427"/>
                </a:lnTo>
                <a:lnTo>
                  <a:pt x="1742" y="2470"/>
                </a:lnTo>
                <a:lnTo>
                  <a:pt x="1677" y="2494"/>
                </a:lnTo>
                <a:lnTo>
                  <a:pt x="1609" y="2517"/>
                </a:lnTo>
                <a:lnTo>
                  <a:pt x="1541" y="2543"/>
                </a:lnTo>
                <a:lnTo>
                  <a:pt x="1475" y="2569"/>
                </a:lnTo>
                <a:lnTo>
                  <a:pt x="1410" y="2596"/>
                </a:lnTo>
                <a:lnTo>
                  <a:pt x="1346" y="2625"/>
                </a:lnTo>
                <a:lnTo>
                  <a:pt x="1346" y="2625"/>
                </a:lnTo>
                <a:lnTo>
                  <a:pt x="1284" y="2655"/>
                </a:lnTo>
                <a:lnTo>
                  <a:pt x="1222" y="2684"/>
                </a:lnTo>
                <a:lnTo>
                  <a:pt x="1162" y="2717"/>
                </a:lnTo>
                <a:lnTo>
                  <a:pt x="1102" y="2749"/>
                </a:lnTo>
                <a:lnTo>
                  <a:pt x="1043" y="2785"/>
                </a:lnTo>
                <a:lnTo>
                  <a:pt x="988" y="2821"/>
                </a:lnTo>
                <a:lnTo>
                  <a:pt x="931" y="2859"/>
                </a:lnTo>
                <a:lnTo>
                  <a:pt x="876" y="2899"/>
                </a:lnTo>
                <a:lnTo>
                  <a:pt x="876" y="2899"/>
                </a:lnTo>
                <a:lnTo>
                  <a:pt x="822" y="2938"/>
                </a:lnTo>
                <a:lnTo>
                  <a:pt x="771" y="2980"/>
                </a:lnTo>
                <a:lnTo>
                  <a:pt x="720" y="3023"/>
                </a:lnTo>
                <a:lnTo>
                  <a:pt x="672" y="3069"/>
                </a:lnTo>
                <a:lnTo>
                  <a:pt x="623" y="3113"/>
                </a:lnTo>
                <a:lnTo>
                  <a:pt x="576" y="3159"/>
                </a:lnTo>
                <a:lnTo>
                  <a:pt x="531" y="3207"/>
                </a:lnTo>
                <a:lnTo>
                  <a:pt x="487" y="3257"/>
                </a:lnTo>
                <a:lnTo>
                  <a:pt x="487" y="3257"/>
                </a:lnTo>
                <a:lnTo>
                  <a:pt x="447" y="3308"/>
                </a:lnTo>
                <a:lnTo>
                  <a:pt x="406" y="3360"/>
                </a:lnTo>
                <a:lnTo>
                  <a:pt x="366" y="3413"/>
                </a:lnTo>
                <a:lnTo>
                  <a:pt x="329" y="3468"/>
                </a:lnTo>
                <a:lnTo>
                  <a:pt x="292" y="3523"/>
                </a:lnTo>
                <a:lnTo>
                  <a:pt x="258" y="3579"/>
                </a:lnTo>
                <a:lnTo>
                  <a:pt x="227" y="3636"/>
                </a:lnTo>
                <a:lnTo>
                  <a:pt x="197" y="3694"/>
                </a:lnTo>
                <a:lnTo>
                  <a:pt x="197" y="3694"/>
                </a:lnTo>
                <a:lnTo>
                  <a:pt x="167" y="3755"/>
                </a:lnTo>
                <a:lnTo>
                  <a:pt x="140" y="3814"/>
                </a:lnTo>
                <a:lnTo>
                  <a:pt x="114" y="3876"/>
                </a:lnTo>
                <a:lnTo>
                  <a:pt x="92" y="3940"/>
                </a:lnTo>
                <a:lnTo>
                  <a:pt x="71" y="4003"/>
                </a:lnTo>
                <a:lnTo>
                  <a:pt x="53" y="4067"/>
                </a:lnTo>
                <a:lnTo>
                  <a:pt x="35" y="4130"/>
                </a:lnTo>
                <a:lnTo>
                  <a:pt x="20" y="4195"/>
                </a:lnTo>
                <a:lnTo>
                  <a:pt x="20" y="4195"/>
                </a:lnTo>
                <a:lnTo>
                  <a:pt x="7" y="4268"/>
                </a:lnTo>
                <a:lnTo>
                  <a:pt x="4" y="4303"/>
                </a:lnTo>
                <a:lnTo>
                  <a:pt x="0" y="433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/>
          <a:lstStyle/>
          <a:p>
            <a:pPr algn="ctr" eaLnBrk="0" hangingPunct="0">
              <a:lnSpc>
                <a:spcPct val="85000"/>
              </a:lnSpc>
              <a:defRPr/>
            </a:pPr>
            <a:endParaRPr lang="en-US" noProof="0" dirty="0"/>
          </a:p>
        </p:txBody>
      </p:sp>
      <p:sp>
        <p:nvSpPr>
          <p:cNvPr id="8" name="Titre 1"/>
          <p:cNvSpPr>
            <a:spLocks noGrp="1"/>
          </p:cNvSpPr>
          <p:nvPr>
            <p:ph type="title" hasCustomPrompt="1"/>
          </p:nvPr>
        </p:nvSpPr>
        <p:spPr>
          <a:xfrm>
            <a:off x="0" y="903288"/>
            <a:ext cx="9906000" cy="1143000"/>
          </a:xfrm>
          <a:prstGeom prst="rect">
            <a:avLst/>
          </a:prstGeom>
        </p:spPr>
        <p:txBody>
          <a:bodyPr lIns="360000" rIns="36000" anchor="b"/>
          <a:lstStyle>
            <a:lvl1pPr algn="l">
              <a:defRPr sz="3600" b="1" baseline="0">
                <a:solidFill>
                  <a:schemeClr val="tx2"/>
                </a:solidFill>
                <a:latin typeface="Arial Narrow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seul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7"/>
          <p:cNvSpPr>
            <a:spLocks/>
          </p:cNvSpPr>
          <p:nvPr userDrawn="1"/>
        </p:nvSpPr>
        <p:spPr bwMode="auto">
          <a:xfrm>
            <a:off x="0" y="-38100"/>
            <a:ext cx="9929813" cy="6896100"/>
          </a:xfrm>
          <a:custGeom>
            <a:avLst/>
            <a:gdLst/>
            <a:ahLst/>
            <a:cxnLst>
              <a:cxn ang="0">
                <a:pos x="0" y="3797"/>
              </a:cxn>
              <a:cxn ang="0">
                <a:pos x="0" y="3252"/>
              </a:cxn>
              <a:cxn ang="0">
                <a:pos x="0" y="2159"/>
              </a:cxn>
              <a:cxn ang="0">
                <a:pos x="0" y="1611"/>
              </a:cxn>
              <a:cxn ang="0">
                <a:pos x="0" y="523"/>
              </a:cxn>
              <a:cxn ang="0">
                <a:pos x="0" y="387"/>
              </a:cxn>
              <a:cxn ang="0">
                <a:pos x="5760" y="9"/>
              </a:cxn>
              <a:cxn ang="0">
                <a:pos x="5760" y="312"/>
              </a:cxn>
              <a:cxn ang="0">
                <a:pos x="5760" y="377"/>
              </a:cxn>
              <a:cxn ang="0">
                <a:pos x="5760" y="786"/>
              </a:cxn>
              <a:cxn ang="0">
                <a:pos x="5760" y="1060"/>
              </a:cxn>
              <a:cxn ang="0">
                <a:pos x="5760" y="1262"/>
              </a:cxn>
              <a:cxn ang="0">
                <a:pos x="5758" y="1283"/>
              </a:cxn>
              <a:cxn ang="0">
                <a:pos x="5747" y="1301"/>
              </a:cxn>
              <a:cxn ang="0">
                <a:pos x="5719" y="1339"/>
              </a:cxn>
              <a:cxn ang="0">
                <a:pos x="5650" y="1406"/>
              </a:cxn>
              <a:cxn ang="0">
                <a:pos x="5597" y="1445"/>
              </a:cxn>
              <a:cxn ang="0">
                <a:pos x="5480" y="1515"/>
              </a:cxn>
              <a:cxn ang="0">
                <a:pos x="5295" y="1608"/>
              </a:cxn>
              <a:cxn ang="0">
                <a:pos x="5161" y="1663"/>
              </a:cxn>
              <a:cxn ang="0">
                <a:pos x="4893" y="1759"/>
              </a:cxn>
              <a:cxn ang="0">
                <a:pos x="4615" y="1845"/>
              </a:cxn>
              <a:cxn ang="0">
                <a:pos x="4188" y="1958"/>
              </a:cxn>
              <a:cxn ang="0">
                <a:pos x="3902" y="2027"/>
              </a:cxn>
              <a:cxn ang="0">
                <a:pos x="3614" y="2089"/>
              </a:cxn>
              <a:cxn ang="0">
                <a:pos x="2993" y="2192"/>
              </a:cxn>
              <a:cxn ang="0">
                <a:pos x="2444" y="2281"/>
              </a:cxn>
              <a:cxn ang="0">
                <a:pos x="2160" y="2348"/>
              </a:cxn>
              <a:cxn ang="0">
                <a:pos x="1880" y="2427"/>
              </a:cxn>
              <a:cxn ang="0">
                <a:pos x="1609" y="2517"/>
              </a:cxn>
              <a:cxn ang="0">
                <a:pos x="1410" y="2596"/>
              </a:cxn>
              <a:cxn ang="0">
                <a:pos x="1284" y="2655"/>
              </a:cxn>
              <a:cxn ang="0">
                <a:pos x="1102" y="2749"/>
              </a:cxn>
              <a:cxn ang="0">
                <a:pos x="931" y="2859"/>
              </a:cxn>
              <a:cxn ang="0">
                <a:pos x="822" y="2938"/>
              </a:cxn>
              <a:cxn ang="0">
                <a:pos x="672" y="3069"/>
              </a:cxn>
              <a:cxn ang="0">
                <a:pos x="531" y="3207"/>
              </a:cxn>
              <a:cxn ang="0">
                <a:pos x="447" y="3308"/>
              </a:cxn>
              <a:cxn ang="0">
                <a:pos x="329" y="3468"/>
              </a:cxn>
              <a:cxn ang="0">
                <a:pos x="227" y="3636"/>
              </a:cxn>
              <a:cxn ang="0">
                <a:pos x="167" y="3755"/>
              </a:cxn>
              <a:cxn ang="0">
                <a:pos x="92" y="3940"/>
              </a:cxn>
              <a:cxn ang="0">
                <a:pos x="35" y="4130"/>
              </a:cxn>
              <a:cxn ang="0">
                <a:pos x="7" y="4268"/>
              </a:cxn>
            </a:cxnLst>
            <a:rect l="0" t="0" r="r" b="b"/>
            <a:pathLst>
              <a:path w="5760" h="4339">
                <a:moveTo>
                  <a:pt x="0" y="4339"/>
                </a:moveTo>
                <a:lnTo>
                  <a:pt x="0" y="4339"/>
                </a:lnTo>
                <a:lnTo>
                  <a:pt x="0" y="3797"/>
                </a:lnTo>
                <a:lnTo>
                  <a:pt x="0" y="3797"/>
                </a:lnTo>
                <a:lnTo>
                  <a:pt x="0" y="3252"/>
                </a:lnTo>
                <a:lnTo>
                  <a:pt x="0" y="3252"/>
                </a:lnTo>
                <a:lnTo>
                  <a:pt x="0" y="2705"/>
                </a:lnTo>
                <a:lnTo>
                  <a:pt x="0" y="2705"/>
                </a:lnTo>
                <a:lnTo>
                  <a:pt x="0" y="2159"/>
                </a:lnTo>
                <a:lnTo>
                  <a:pt x="0" y="2159"/>
                </a:lnTo>
                <a:lnTo>
                  <a:pt x="0" y="1611"/>
                </a:lnTo>
                <a:lnTo>
                  <a:pt x="0" y="1611"/>
                </a:lnTo>
                <a:lnTo>
                  <a:pt x="0" y="1066"/>
                </a:lnTo>
                <a:lnTo>
                  <a:pt x="0" y="1066"/>
                </a:lnTo>
                <a:lnTo>
                  <a:pt x="0" y="523"/>
                </a:lnTo>
                <a:lnTo>
                  <a:pt x="0" y="523"/>
                </a:lnTo>
                <a:lnTo>
                  <a:pt x="0" y="387"/>
                </a:lnTo>
                <a:lnTo>
                  <a:pt x="0" y="387"/>
                </a:lnTo>
                <a:lnTo>
                  <a:pt x="0" y="0"/>
                </a:lnTo>
                <a:lnTo>
                  <a:pt x="155" y="9"/>
                </a:lnTo>
                <a:lnTo>
                  <a:pt x="5760" y="9"/>
                </a:lnTo>
                <a:lnTo>
                  <a:pt x="5760" y="310"/>
                </a:lnTo>
                <a:lnTo>
                  <a:pt x="5760" y="312"/>
                </a:lnTo>
                <a:lnTo>
                  <a:pt x="5760" y="312"/>
                </a:lnTo>
                <a:lnTo>
                  <a:pt x="5760" y="344"/>
                </a:lnTo>
                <a:lnTo>
                  <a:pt x="5760" y="377"/>
                </a:lnTo>
                <a:lnTo>
                  <a:pt x="5760" y="377"/>
                </a:lnTo>
                <a:lnTo>
                  <a:pt x="5760" y="512"/>
                </a:lnTo>
                <a:lnTo>
                  <a:pt x="5760" y="512"/>
                </a:lnTo>
                <a:lnTo>
                  <a:pt x="5760" y="786"/>
                </a:lnTo>
                <a:lnTo>
                  <a:pt x="5760" y="786"/>
                </a:lnTo>
                <a:lnTo>
                  <a:pt x="5760" y="1060"/>
                </a:lnTo>
                <a:lnTo>
                  <a:pt x="5760" y="1060"/>
                </a:lnTo>
                <a:lnTo>
                  <a:pt x="5760" y="1195"/>
                </a:lnTo>
                <a:lnTo>
                  <a:pt x="5760" y="1195"/>
                </a:lnTo>
                <a:lnTo>
                  <a:pt x="5760" y="1262"/>
                </a:lnTo>
                <a:lnTo>
                  <a:pt x="5760" y="1262"/>
                </a:lnTo>
                <a:lnTo>
                  <a:pt x="5758" y="1276"/>
                </a:lnTo>
                <a:lnTo>
                  <a:pt x="5758" y="1283"/>
                </a:lnTo>
                <a:lnTo>
                  <a:pt x="5755" y="1289"/>
                </a:lnTo>
                <a:lnTo>
                  <a:pt x="5755" y="1289"/>
                </a:lnTo>
                <a:lnTo>
                  <a:pt x="5747" y="1301"/>
                </a:lnTo>
                <a:lnTo>
                  <a:pt x="5740" y="1315"/>
                </a:lnTo>
                <a:lnTo>
                  <a:pt x="5740" y="1315"/>
                </a:lnTo>
                <a:lnTo>
                  <a:pt x="5719" y="1339"/>
                </a:lnTo>
                <a:lnTo>
                  <a:pt x="5699" y="1363"/>
                </a:lnTo>
                <a:lnTo>
                  <a:pt x="5674" y="1385"/>
                </a:lnTo>
                <a:lnTo>
                  <a:pt x="5650" y="1406"/>
                </a:lnTo>
                <a:lnTo>
                  <a:pt x="5650" y="1406"/>
                </a:lnTo>
                <a:lnTo>
                  <a:pt x="5624" y="1426"/>
                </a:lnTo>
                <a:lnTo>
                  <a:pt x="5597" y="1445"/>
                </a:lnTo>
                <a:lnTo>
                  <a:pt x="5541" y="1481"/>
                </a:lnTo>
                <a:lnTo>
                  <a:pt x="5541" y="1481"/>
                </a:lnTo>
                <a:lnTo>
                  <a:pt x="5480" y="1515"/>
                </a:lnTo>
                <a:lnTo>
                  <a:pt x="5419" y="1548"/>
                </a:lnTo>
                <a:lnTo>
                  <a:pt x="5356" y="1579"/>
                </a:lnTo>
                <a:lnTo>
                  <a:pt x="5295" y="1608"/>
                </a:lnTo>
                <a:lnTo>
                  <a:pt x="5295" y="1608"/>
                </a:lnTo>
                <a:lnTo>
                  <a:pt x="5229" y="1636"/>
                </a:lnTo>
                <a:lnTo>
                  <a:pt x="5161" y="1663"/>
                </a:lnTo>
                <a:lnTo>
                  <a:pt x="5096" y="1689"/>
                </a:lnTo>
                <a:lnTo>
                  <a:pt x="5028" y="1713"/>
                </a:lnTo>
                <a:lnTo>
                  <a:pt x="4893" y="1759"/>
                </a:lnTo>
                <a:lnTo>
                  <a:pt x="4756" y="1804"/>
                </a:lnTo>
                <a:lnTo>
                  <a:pt x="4756" y="1804"/>
                </a:lnTo>
                <a:lnTo>
                  <a:pt x="4615" y="1845"/>
                </a:lnTo>
                <a:lnTo>
                  <a:pt x="4472" y="1885"/>
                </a:lnTo>
                <a:lnTo>
                  <a:pt x="4332" y="1920"/>
                </a:lnTo>
                <a:lnTo>
                  <a:pt x="4188" y="1958"/>
                </a:lnTo>
                <a:lnTo>
                  <a:pt x="4188" y="1958"/>
                </a:lnTo>
                <a:lnTo>
                  <a:pt x="4046" y="1993"/>
                </a:lnTo>
                <a:lnTo>
                  <a:pt x="3902" y="2027"/>
                </a:lnTo>
                <a:lnTo>
                  <a:pt x="3758" y="2059"/>
                </a:lnTo>
                <a:lnTo>
                  <a:pt x="3614" y="2089"/>
                </a:lnTo>
                <a:lnTo>
                  <a:pt x="3614" y="2089"/>
                </a:lnTo>
                <a:lnTo>
                  <a:pt x="3511" y="2108"/>
                </a:lnTo>
                <a:lnTo>
                  <a:pt x="3363" y="2133"/>
                </a:lnTo>
                <a:lnTo>
                  <a:pt x="2993" y="2192"/>
                </a:lnTo>
                <a:lnTo>
                  <a:pt x="2641" y="2248"/>
                </a:lnTo>
                <a:lnTo>
                  <a:pt x="2515" y="2267"/>
                </a:lnTo>
                <a:lnTo>
                  <a:pt x="2444" y="2281"/>
                </a:lnTo>
                <a:lnTo>
                  <a:pt x="2444" y="2281"/>
                </a:lnTo>
                <a:lnTo>
                  <a:pt x="2302" y="2312"/>
                </a:lnTo>
                <a:lnTo>
                  <a:pt x="2160" y="2348"/>
                </a:lnTo>
                <a:lnTo>
                  <a:pt x="2018" y="2386"/>
                </a:lnTo>
                <a:lnTo>
                  <a:pt x="1880" y="2427"/>
                </a:lnTo>
                <a:lnTo>
                  <a:pt x="1880" y="2427"/>
                </a:lnTo>
                <a:lnTo>
                  <a:pt x="1742" y="2470"/>
                </a:lnTo>
                <a:lnTo>
                  <a:pt x="1677" y="2494"/>
                </a:lnTo>
                <a:lnTo>
                  <a:pt x="1609" y="2517"/>
                </a:lnTo>
                <a:lnTo>
                  <a:pt x="1541" y="2543"/>
                </a:lnTo>
                <a:lnTo>
                  <a:pt x="1475" y="2569"/>
                </a:lnTo>
                <a:lnTo>
                  <a:pt x="1410" y="2596"/>
                </a:lnTo>
                <a:lnTo>
                  <a:pt x="1346" y="2625"/>
                </a:lnTo>
                <a:lnTo>
                  <a:pt x="1346" y="2625"/>
                </a:lnTo>
                <a:lnTo>
                  <a:pt x="1284" y="2655"/>
                </a:lnTo>
                <a:lnTo>
                  <a:pt x="1222" y="2684"/>
                </a:lnTo>
                <a:lnTo>
                  <a:pt x="1162" y="2717"/>
                </a:lnTo>
                <a:lnTo>
                  <a:pt x="1102" y="2749"/>
                </a:lnTo>
                <a:lnTo>
                  <a:pt x="1043" y="2785"/>
                </a:lnTo>
                <a:lnTo>
                  <a:pt x="988" y="2821"/>
                </a:lnTo>
                <a:lnTo>
                  <a:pt x="931" y="2859"/>
                </a:lnTo>
                <a:lnTo>
                  <a:pt x="876" y="2899"/>
                </a:lnTo>
                <a:lnTo>
                  <a:pt x="876" y="2899"/>
                </a:lnTo>
                <a:lnTo>
                  <a:pt x="822" y="2938"/>
                </a:lnTo>
                <a:lnTo>
                  <a:pt x="771" y="2980"/>
                </a:lnTo>
                <a:lnTo>
                  <a:pt x="720" y="3023"/>
                </a:lnTo>
                <a:lnTo>
                  <a:pt x="672" y="3069"/>
                </a:lnTo>
                <a:lnTo>
                  <a:pt x="623" y="3113"/>
                </a:lnTo>
                <a:lnTo>
                  <a:pt x="576" y="3159"/>
                </a:lnTo>
                <a:lnTo>
                  <a:pt x="531" y="3207"/>
                </a:lnTo>
                <a:lnTo>
                  <a:pt x="487" y="3257"/>
                </a:lnTo>
                <a:lnTo>
                  <a:pt x="487" y="3257"/>
                </a:lnTo>
                <a:lnTo>
                  <a:pt x="447" y="3308"/>
                </a:lnTo>
                <a:lnTo>
                  <a:pt x="406" y="3360"/>
                </a:lnTo>
                <a:lnTo>
                  <a:pt x="366" y="3413"/>
                </a:lnTo>
                <a:lnTo>
                  <a:pt x="329" y="3468"/>
                </a:lnTo>
                <a:lnTo>
                  <a:pt x="292" y="3523"/>
                </a:lnTo>
                <a:lnTo>
                  <a:pt x="258" y="3579"/>
                </a:lnTo>
                <a:lnTo>
                  <a:pt x="227" y="3636"/>
                </a:lnTo>
                <a:lnTo>
                  <a:pt x="197" y="3694"/>
                </a:lnTo>
                <a:lnTo>
                  <a:pt x="197" y="3694"/>
                </a:lnTo>
                <a:lnTo>
                  <a:pt x="167" y="3755"/>
                </a:lnTo>
                <a:lnTo>
                  <a:pt x="140" y="3814"/>
                </a:lnTo>
                <a:lnTo>
                  <a:pt x="114" y="3876"/>
                </a:lnTo>
                <a:lnTo>
                  <a:pt x="92" y="3940"/>
                </a:lnTo>
                <a:lnTo>
                  <a:pt x="71" y="4003"/>
                </a:lnTo>
                <a:lnTo>
                  <a:pt x="53" y="4067"/>
                </a:lnTo>
                <a:lnTo>
                  <a:pt x="35" y="4130"/>
                </a:lnTo>
                <a:lnTo>
                  <a:pt x="20" y="4195"/>
                </a:lnTo>
                <a:lnTo>
                  <a:pt x="20" y="4195"/>
                </a:lnTo>
                <a:lnTo>
                  <a:pt x="7" y="4268"/>
                </a:lnTo>
                <a:lnTo>
                  <a:pt x="4" y="4303"/>
                </a:lnTo>
                <a:lnTo>
                  <a:pt x="0" y="433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/>
          <a:lstStyle/>
          <a:p>
            <a:pPr algn="ctr" eaLnBrk="0" hangingPunct="0">
              <a:lnSpc>
                <a:spcPct val="85000"/>
              </a:lnSpc>
              <a:defRPr/>
            </a:pPr>
            <a:endParaRPr lang="en-US" noProof="0" dirty="0"/>
          </a:p>
        </p:txBody>
      </p:sp>
      <p:sp>
        <p:nvSpPr>
          <p:cNvPr id="6" name="Rectangle 8"/>
          <p:cNvSpPr>
            <a:spLocks noChangeArrowheads="1"/>
          </p:cNvSpPr>
          <p:nvPr userDrawn="1"/>
        </p:nvSpPr>
        <p:spPr bwMode="auto">
          <a:xfrm>
            <a:off x="7439025" y="5376350"/>
            <a:ext cx="2466975" cy="276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360000" bIns="0">
            <a:spAutoFit/>
          </a:bodyPr>
          <a:lstStyle/>
          <a:p>
            <a:pPr algn="r">
              <a:spcBef>
                <a:spcPct val="20000"/>
              </a:spcBef>
              <a:defRPr/>
            </a:pPr>
            <a:r>
              <a:rPr lang="en-US" sz="1800" b="0" dirty="0">
                <a:solidFill>
                  <a:schemeClr val="bg1"/>
                </a:solidFill>
              </a:rPr>
              <a:t>www.capgemini.com</a:t>
            </a:r>
          </a:p>
        </p:txBody>
      </p:sp>
      <p:pic>
        <p:nvPicPr>
          <p:cNvPr id="7" name="Picture 9" descr="OK_Capgemini"/>
          <p:cNvPicPr>
            <a:picLocks noChangeAspect="1" noChangeArrowheads="1"/>
          </p:cNvPicPr>
          <p:nvPr userDrawn="1"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1004177" y="922006"/>
            <a:ext cx="4676775" cy="1017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Rectangle 7"/>
          <p:cNvSpPr/>
          <p:nvPr userDrawn="1"/>
        </p:nvSpPr>
        <p:spPr>
          <a:xfrm>
            <a:off x="0" y="6597650"/>
            <a:ext cx="9906000" cy="260241"/>
          </a:xfrm>
          <a:prstGeom prst="rect">
            <a:avLst/>
          </a:prstGeom>
        </p:spPr>
        <p:txBody>
          <a:bodyPr tIns="0" rIns="360000" bIns="180000" anchor="b">
            <a:spAutoFit/>
          </a:bodyPr>
          <a:lstStyle/>
          <a:p>
            <a:pPr marL="0" marR="0" indent="0" algn="r" defTabSz="914400" rtl="0" eaLnBrk="0" fontAlgn="auto" latinLnBrk="0" hangingPunct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The information contained in this presentation is proprietary and confidential. It is for Capgemini internal use only. Copyright ©2010 Capgemini. All rights reserved.</a:t>
            </a:r>
          </a:p>
        </p:txBody>
      </p:sp>
      <p:pic>
        <p:nvPicPr>
          <p:cNvPr id="9" name="Image 8" descr="Capgemini_Slogan_White.png"/>
          <p:cNvPicPr>
            <a:picLocks noChangeAspect="1"/>
          </p:cNvPicPr>
          <p:nvPr userDrawn="1"/>
        </p:nvPicPr>
        <p:blipFill>
          <a:blip r:embed="rId3" cstate="print"/>
          <a:stretch>
            <a:fillRect/>
          </a:stretch>
        </p:blipFill>
        <p:spPr>
          <a:xfrm>
            <a:off x="5816371" y="4856253"/>
            <a:ext cx="3803912" cy="393193"/>
          </a:xfrm>
          <a:prstGeom prst="rect">
            <a:avLst/>
          </a:prstGeom>
          <a:noFill/>
          <a:ln w="25400" cap="sq">
            <a:noFill/>
            <a:miter lim="800000"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">
    <p:bg>
      <p:bgPr>
        <a:blipFill dpi="0" rotWithShape="1">
          <a:blip r:embed="rId2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7"/>
          <p:cNvSpPr>
            <a:spLocks/>
          </p:cNvSpPr>
          <p:nvPr userDrawn="1"/>
        </p:nvSpPr>
        <p:spPr bwMode="auto">
          <a:xfrm>
            <a:off x="0" y="-38100"/>
            <a:ext cx="9929813" cy="6896100"/>
          </a:xfrm>
          <a:custGeom>
            <a:avLst/>
            <a:gdLst/>
            <a:ahLst/>
            <a:cxnLst>
              <a:cxn ang="0">
                <a:pos x="0" y="3797"/>
              </a:cxn>
              <a:cxn ang="0">
                <a:pos x="0" y="3252"/>
              </a:cxn>
              <a:cxn ang="0">
                <a:pos x="0" y="2159"/>
              </a:cxn>
              <a:cxn ang="0">
                <a:pos x="0" y="1611"/>
              </a:cxn>
              <a:cxn ang="0">
                <a:pos x="0" y="523"/>
              </a:cxn>
              <a:cxn ang="0">
                <a:pos x="0" y="387"/>
              </a:cxn>
              <a:cxn ang="0">
                <a:pos x="5760" y="9"/>
              </a:cxn>
              <a:cxn ang="0">
                <a:pos x="5760" y="312"/>
              </a:cxn>
              <a:cxn ang="0">
                <a:pos x="5760" y="377"/>
              </a:cxn>
              <a:cxn ang="0">
                <a:pos x="5760" y="786"/>
              </a:cxn>
              <a:cxn ang="0">
                <a:pos x="5760" y="1060"/>
              </a:cxn>
              <a:cxn ang="0">
                <a:pos x="5760" y="1262"/>
              </a:cxn>
              <a:cxn ang="0">
                <a:pos x="5758" y="1283"/>
              </a:cxn>
              <a:cxn ang="0">
                <a:pos x="5747" y="1301"/>
              </a:cxn>
              <a:cxn ang="0">
                <a:pos x="5719" y="1339"/>
              </a:cxn>
              <a:cxn ang="0">
                <a:pos x="5650" y="1406"/>
              </a:cxn>
              <a:cxn ang="0">
                <a:pos x="5597" y="1445"/>
              </a:cxn>
              <a:cxn ang="0">
                <a:pos x="5480" y="1515"/>
              </a:cxn>
              <a:cxn ang="0">
                <a:pos x="5295" y="1608"/>
              </a:cxn>
              <a:cxn ang="0">
                <a:pos x="5161" y="1663"/>
              </a:cxn>
              <a:cxn ang="0">
                <a:pos x="4893" y="1759"/>
              </a:cxn>
              <a:cxn ang="0">
                <a:pos x="4615" y="1845"/>
              </a:cxn>
              <a:cxn ang="0">
                <a:pos x="4188" y="1958"/>
              </a:cxn>
              <a:cxn ang="0">
                <a:pos x="3902" y="2027"/>
              </a:cxn>
              <a:cxn ang="0">
                <a:pos x="3614" y="2089"/>
              </a:cxn>
              <a:cxn ang="0">
                <a:pos x="2993" y="2192"/>
              </a:cxn>
              <a:cxn ang="0">
                <a:pos x="2444" y="2281"/>
              </a:cxn>
              <a:cxn ang="0">
                <a:pos x="2160" y="2348"/>
              </a:cxn>
              <a:cxn ang="0">
                <a:pos x="1880" y="2427"/>
              </a:cxn>
              <a:cxn ang="0">
                <a:pos x="1609" y="2517"/>
              </a:cxn>
              <a:cxn ang="0">
                <a:pos x="1410" y="2596"/>
              </a:cxn>
              <a:cxn ang="0">
                <a:pos x="1284" y="2655"/>
              </a:cxn>
              <a:cxn ang="0">
                <a:pos x="1102" y="2749"/>
              </a:cxn>
              <a:cxn ang="0">
                <a:pos x="931" y="2859"/>
              </a:cxn>
              <a:cxn ang="0">
                <a:pos x="822" y="2938"/>
              </a:cxn>
              <a:cxn ang="0">
                <a:pos x="672" y="3069"/>
              </a:cxn>
              <a:cxn ang="0">
                <a:pos x="531" y="3207"/>
              </a:cxn>
              <a:cxn ang="0">
                <a:pos x="447" y="3308"/>
              </a:cxn>
              <a:cxn ang="0">
                <a:pos x="329" y="3468"/>
              </a:cxn>
              <a:cxn ang="0">
                <a:pos x="227" y="3636"/>
              </a:cxn>
              <a:cxn ang="0">
                <a:pos x="167" y="3755"/>
              </a:cxn>
              <a:cxn ang="0">
                <a:pos x="92" y="3940"/>
              </a:cxn>
              <a:cxn ang="0">
                <a:pos x="35" y="4130"/>
              </a:cxn>
              <a:cxn ang="0">
                <a:pos x="7" y="4268"/>
              </a:cxn>
            </a:cxnLst>
            <a:rect l="0" t="0" r="r" b="b"/>
            <a:pathLst>
              <a:path w="5760" h="4339">
                <a:moveTo>
                  <a:pt x="0" y="4339"/>
                </a:moveTo>
                <a:lnTo>
                  <a:pt x="0" y="4339"/>
                </a:lnTo>
                <a:lnTo>
                  <a:pt x="0" y="3797"/>
                </a:lnTo>
                <a:lnTo>
                  <a:pt x="0" y="3797"/>
                </a:lnTo>
                <a:lnTo>
                  <a:pt x="0" y="3252"/>
                </a:lnTo>
                <a:lnTo>
                  <a:pt x="0" y="3252"/>
                </a:lnTo>
                <a:lnTo>
                  <a:pt x="0" y="2705"/>
                </a:lnTo>
                <a:lnTo>
                  <a:pt x="0" y="2705"/>
                </a:lnTo>
                <a:lnTo>
                  <a:pt x="0" y="2159"/>
                </a:lnTo>
                <a:lnTo>
                  <a:pt x="0" y="2159"/>
                </a:lnTo>
                <a:lnTo>
                  <a:pt x="0" y="1611"/>
                </a:lnTo>
                <a:lnTo>
                  <a:pt x="0" y="1611"/>
                </a:lnTo>
                <a:lnTo>
                  <a:pt x="0" y="1066"/>
                </a:lnTo>
                <a:lnTo>
                  <a:pt x="0" y="1066"/>
                </a:lnTo>
                <a:lnTo>
                  <a:pt x="0" y="523"/>
                </a:lnTo>
                <a:lnTo>
                  <a:pt x="0" y="523"/>
                </a:lnTo>
                <a:lnTo>
                  <a:pt x="0" y="387"/>
                </a:lnTo>
                <a:lnTo>
                  <a:pt x="0" y="387"/>
                </a:lnTo>
                <a:lnTo>
                  <a:pt x="0" y="0"/>
                </a:lnTo>
                <a:lnTo>
                  <a:pt x="155" y="9"/>
                </a:lnTo>
                <a:lnTo>
                  <a:pt x="5760" y="9"/>
                </a:lnTo>
                <a:lnTo>
                  <a:pt x="5760" y="310"/>
                </a:lnTo>
                <a:lnTo>
                  <a:pt x="5760" y="312"/>
                </a:lnTo>
                <a:lnTo>
                  <a:pt x="5760" y="312"/>
                </a:lnTo>
                <a:lnTo>
                  <a:pt x="5760" y="344"/>
                </a:lnTo>
                <a:lnTo>
                  <a:pt x="5760" y="377"/>
                </a:lnTo>
                <a:lnTo>
                  <a:pt x="5760" y="377"/>
                </a:lnTo>
                <a:lnTo>
                  <a:pt x="5760" y="512"/>
                </a:lnTo>
                <a:lnTo>
                  <a:pt x="5760" y="512"/>
                </a:lnTo>
                <a:lnTo>
                  <a:pt x="5760" y="786"/>
                </a:lnTo>
                <a:lnTo>
                  <a:pt x="5760" y="786"/>
                </a:lnTo>
                <a:lnTo>
                  <a:pt x="5760" y="1060"/>
                </a:lnTo>
                <a:lnTo>
                  <a:pt x="5760" y="1060"/>
                </a:lnTo>
                <a:lnTo>
                  <a:pt x="5760" y="1195"/>
                </a:lnTo>
                <a:lnTo>
                  <a:pt x="5760" y="1195"/>
                </a:lnTo>
                <a:lnTo>
                  <a:pt x="5760" y="1262"/>
                </a:lnTo>
                <a:lnTo>
                  <a:pt x="5760" y="1262"/>
                </a:lnTo>
                <a:lnTo>
                  <a:pt x="5758" y="1276"/>
                </a:lnTo>
                <a:lnTo>
                  <a:pt x="5758" y="1283"/>
                </a:lnTo>
                <a:lnTo>
                  <a:pt x="5755" y="1289"/>
                </a:lnTo>
                <a:lnTo>
                  <a:pt x="5755" y="1289"/>
                </a:lnTo>
                <a:lnTo>
                  <a:pt x="5747" y="1301"/>
                </a:lnTo>
                <a:lnTo>
                  <a:pt x="5740" y="1315"/>
                </a:lnTo>
                <a:lnTo>
                  <a:pt x="5740" y="1315"/>
                </a:lnTo>
                <a:lnTo>
                  <a:pt x="5719" y="1339"/>
                </a:lnTo>
                <a:lnTo>
                  <a:pt x="5699" y="1363"/>
                </a:lnTo>
                <a:lnTo>
                  <a:pt x="5674" y="1385"/>
                </a:lnTo>
                <a:lnTo>
                  <a:pt x="5650" y="1406"/>
                </a:lnTo>
                <a:lnTo>
                  <a:pt x="5650" y="1406"/>
                </a:lnTo>
                <a:lnTo>
                  <a:pt x="5624" y="1426"/>
                </a:lnTo>
                <a:lnTo>
                  <a:pt x="5597" y="1445"/>
                </a:lnTo>
                <a:lnTo>
                  <a:pt x="5541" y="1481"/>
                </a:lnTo>
                <a:lnTo>
                  <a:pt x="5541" y="1481"/>
                </a:lnTo>
                <a:lnTo>
                  <a:pt x="5480" y="1515"/>
                </a:lnTo>
                <a:lnTo>
                  <a:pt x="5419" y="1548"/>
                </a:lnTo>
                <a:lnTo>
                  <a:pt x="5356" y="1579"/>
                </a:lnTo>
                <a:lnTo>
                  <a:pt x="5295" y="1608"/>
                </a:lnTo>
                <a:lnTo>
                  <a:pt x="5295" y="1608"/>
                </a:lnTo>
                <a:lnTo>
                  <a:pt x="5229" y="1636"/>
                </a:lnTo>
                <a:lnTo>
                  <a:pt x="5161" y="1663"/>
                </a:lnTo>
                <a:lnTo>
                  <a:pt x="5096" y="1689"/>
                </a:lnTo>
                <a:lnTo>
                  <a:pt x="5028" y="1713"/>
                </a:lnTo>
                <a:lnTo>
                  <a:pt x="4893" y="1759"/>
                </a:lnTo>
                <a:lnTo>
                  <a:pt x="4756" y="1804"/>
                </a:lnTo>
                <a:lnTo>
                  <a:pt x="4756" y="1804"/>
                </a:lnTo>
                <a:lnTo>
                  <a:pt x="4615" y="1845"/>
                </a:lnTo>
                <a:lnTo>
                  <a:pt x="4472" y="1885"/>
                </a:lnTo>
                <a:lnTo>
                  <a:pt x="4332" y="1920"/>
                </a:lnTo>
                <a:lnTo>
                  <a:pt x="4188" y="1958"/>
                </a:lnTo>
                <a:lnTo>
                  <a:pt x="4188" y="1958"/>
                </a:lnTo>
                <a:lnTo>
                  <a:pt x="4046" y="1993"/>
                </a:lnTo>
                <a:lnTo>
                  <a:pt x="3902" y="2027"/>
                </a:lnTo>
                <a:lnTo>
                  <a:pt x="3758" y="2059"/>
                </a:lnTo>
                <a:lnTo>
                  <a:pt x="3614" y="2089"/>
                </a:lnTo>
                <a:lnTo>
                  <a:pt x="3614" y="2089"/>
                </a:lnTo>
                <a:lnTo>
                  <a:pt x="3511" y="2108"/>
                </a:lnTo>
                <a:lnTo>
                  <a:pt x="3363" y="2133"/>
                </a:lnTo>
                <a:lnTo>
                  <a:pt x="2993" y="2192"/>
                </a:lnTo>
                <a:lnTo>
                  <a:pt x="2641" y="2248"/>
                </a:lnTo>
                <a:lnTo>
                  <a:pt x="2515" y="2267"/>
                </a:lnTo>
                <a:lnTo>
                  <a:pt x="2444" y="2281"/>
                </a:lnTo>
                <a:lnTo>
                  <a:pt x="2444" y="2281"/>
                </a:lnTo>
                <a:lnTo>
                  <a:pt x="2302" y="2312"/>
                </a:lnTo>
                <a:lnTo>
                  <a:pt x="2160" y="2348"/>
                </a:lnTo>
                <a:lnTo>
                  <a:pt x="2018" y="2386"/>
                </a:lnTo>
                <a:lnTo>
                  <a:pt x="1880" y="2427"/>
                </a:lnTo>
                <a:lnTo>
                  <a:pt x="1880" y="2427"/>
                </a:lnTo>
                <a:lnTo>
                  <a:pt x="1742" y="2470"/>
                </a:lnTo>
                <a:lnTo>
                  <a:pt x="1677" y="2494"/>
                </a:lnTo>
                <a:lnTo>
                  <a:pt x="1609" y="2517"/>
                </a:lnTo>
                <a:lnTo>
                  <a:pt x="1541" y="2543"/>
                </a:lnTo>
                <a:lnTo>
                  <a:pt x="1475" y="2569"/>
                </a:lnTo>
                <a:lnTo>
                  <a:pt x="1410" y="2596"/>
                </a:lnTo>
                <a:lnTo>
                  <a:pt x="1346" y="2625"/>
                </a:lnTo>
                <a:lnTo>
                  <a:pt x="1346" y="2625"/>
                </a:lnTo>
                <a:lnTo>
                  <a:pt x="1284" y="2655"/>
                </a:lnTo>
                <a:lnTo>
                  <a:pt x="1222" y="2684"/>
                </a:lnTo>
                <a:lnTo>
                  <a:pt x="1162" y="2717"/>
                </a:lnTo>
                <a:lnTo>
                  <a:pt x="1102" y="2749"/>
                </a:lnTo>
                <a:lnTo>
                  <a:pt x="1043" y="2785"/>
                </a:lnTo>
                <a:lnTo>
                  <a:pt x="988" y="2821"/>
                </a:lnTo>
                <a:lnTo>
                  <a:pt x="931" y="2859"/>
                </a:lnTo>
                <a:lnTo>
                  <a:pt x="876" y="2899"/>
                </a:lnTo>
                <a:lnTo>
                  <a:pt x="876" y="2899"/>
                </a:lnTo>
                <a:lnTo>
                  <a:pt x="822" y="2938"/>
                </a:lnTo>
                <a:lnTo>
                  <a:pt x="771" y="2980"/>
                </a:lnTo>
                <a:lnTo>
                  <a:pt x="720" y="3023"/>
                </a:lnTo>
                <a:lnTo>
                  <a:pt x="672" y="3069"/>
                </a:lnTo>
                <a:lnTo>
                  <a:pt x="623" y="3113"/>
                </a:lnTo>
                <a:lnTo>
                  <a:pt x="576" y="3159"/>
                </a:lnTo>
                <a:lnTo>
                  <a:pt x="531" y="3207"/>
                </a:lnTo>
                <a:lnTo>
                  <a:pt x="487" y="3257"/>
                </a:lnTo>
                <a:lnTo>
                  <a:pt x="487" y="3257"/>
                </a:lnTo>
                <a:lnTo>
                  <a:pt x="447" y="3308"/>
                </a:lnTo>
                <a:lnTo>
                  <a:pt x="406" y="3360"/>
                </a:lnTo>
                <a:lnTo>
                  <a:pt x="366" y="3413"/>
                </a:lnTo>
                <a:lnTo>
                  <a:pt x="329" y="3468"/>
                </a:lnTo>
                <a:lnTo>
                  <a:pt x="292" y="3523"/>
                </a:lnTo>
                <a:lnTo>
                  <a:pt x="258" y="3579"/>
                </a:lnTo>
                <a:lnTo>
                  <a:pt x="227" y="3636"/>
                </a:lnTo>
                <a:lnTo>
                  <a:pt x="197" y="3694"/>
                </a:lnTo>
                <a:lnTo>
                  <a:pt x="197" y="3694"/>
                </a:lnTo>
                <a:lnTo>
                  <a:pt x="167" y="3755"/>
                </a:lnTo>
                <a:lnTo>
                  <a:pt x="140" y="3814"/>
                </a:lnTo>
                <a:lnTo>
                  <a:pt x="114" y="3876"/>
                </a:lnTo>
                <a:lnTo>
                  <a:pt x="92" y="3940"/>
                </a:lnTo>
                <a:lnTo>
                  <a:pt x="71" y="4003"/>
                </a:lnTo>
                <a:lnTo>
                  <a:pt x="53" y="4067"/>
                </a:lnTo>
                <a:lnTo>
                  <a:pt x="35" y="4130"/>
                </a:lnTo>
                <a:lnTo>
                  <a:pt x="20" y="4195"/>
                </a:lnTo>
                <a:lnTo>
                  <a:pt x="20" y="4195"/>
                </a:lnTo>
                <a:lnTo>
                  <a:pt x="7" y="4268"/>
                </a:lnTo>
                <a:lnTo>
                  <a:pt x="4" y="4303"/>
                </a:lnTo>
                <a:lnTo>
                  <a:pt x="0" y="433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/>
          <a:lstStyle/>
          <a:p>
            <a:pPr algn="ctr" eaLnBrk="0" hangingPunct="0">
              <a:lnSpc>
                <a:spcPct val="85000"/>
              </a:lnSpc>
              <a:defRPr/>
            </a:pPr>
            <a:endParaRPr lang="en-US" noProof="0" dirty="0"/>
          </a:p>
        </p:txBody>
      </p:sp>
      <p:sp>
        <p:nvSpPr>
          <p:cNvPr id="6" name="Titre 5"/>
          <p:cNvSpPr>
            <a:spLocks noGrp="1"/>
          </p:cNvSpPr>
          <p:nvPr>
            <p:ph type="title" hasCustomPrompt="1"/>
          </p:nvPr>
        </p:nvSpPr>
        <p:spPr>
          <a:xfrm>
            <a:off x="0" y="903600"/>
            <a:ext cx="9906000" cy="1143000"/>
          </a:xfrm>
          <a:prstGeom prst="rect">
            <a:avLst/>
          </a:prstGeom>
        </p:spPr>
        <p:txBody>
          <a:bodyPr lIns="360000" rIns="36000" anchor="b"/>
          <a:lstStyle>
            <a:lvl1pPr algn="l" defTabSz="914400" rtl="0" eaLnBrk="1" latinLnBrk="0" hangingPunct="1">
              <a:spcBef>
                <a:spcPct val="0"/>
              </a:spcBef>
              <a:buNone/>
              <a:defRPr lang="en-US" sz="3600" b="1" kern="1200" baseline="0" noProof="0" dirty="0" smtClean="0">
                <a:solidFill>
                  <a:schemeClr val="tx2"/>
                </a:solidFill>
                <a:latin typeface="Arial Narrow" pitchFamily="34" charset="0"/>
                <a:ea typeface="+mj-ea"/>
                <a:cs typeface="+mj-cs"/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 B-Peo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du titre 7"/>
          <p:cNvSpPr>
            <a:spLocks noGrp="1"/>
          </p:cNvSpPr>
          <p:nvPr>
            <p:ph type="title" hasCustomPrompt="1"/>
          </p:nvPr>
        </p:nvSpPr>
        <p:spPr>
          <a:xfrm>
            <a:off x="0" y="4300728"/>
            <a:ext cx="9906000" cy="1143000"/>
          </a:xfrm>
          <a:prstGeom prst="rect">
            <a:avLst/>
          </a:prstGeom>
        </p:spPr>
        <p:txBody>
          <a:bodyPr lIns="360000" rIns="360000" anchor="t"/>
          <a:lstStyle>
            <a:lvl1pPr algn="r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buNone/>
              <a:defRPr lang="en-US" sz="3600" b="1" kern="1200" baseline="0" noProof="0" dirty="0">
                <a:solidFill>
                  <a:schemeClr val="tx2"/>
                </a:solidFill>
                <a:latin typeface="Arial Narrow" pitchFamily="34" charset="0"/>
                <a:ea typeface="+mj-ea"/>
                <a:cs typeface="+mj-cs"/>
              </a:defRPr>
            </a:lvl1pPr>
          </a:lstStyle>
          <a:p>
            <a:r>
              <a:rPr lang="en-US" noProof="0" dirty="0" smtClean="0"/>
              <a:t>Click to edit title style</a:t>
            </a:r>
            <a:endParaRPr lang="en-US" noProof="0" dirty="0"/>
          </a:p>
        </p:txBody>
      </p:sp>
      <p:sp>
        <p:nvSpPr>
          <p:cNvPr id="3" name="Freeform 7"/>
          <p:cNvSpPr>
            <a:spLocks/>
          </p:cNvSpPr>
          <p:nvPr userDrawn="1"/>
        </p:nvSpPr>
        <p:spPr bwMode="auto">
          <a:xfrm>
            <a:off x="0" y="0"/>
            <a:ext cx="9929813" cy="6896100"/>
          </a:xfrm>
          <a:custGeom>
            <a:avLst/>
            <a:gdLst/>
            <a:ahLst/>
            <a:cxnLst>
              <a:cxn ang="0">
                <a:pos x="0" y="3797"/>
              </a:cxn>
              <a:cxn ang="0">
                <a:pos x="0" y="3252"/>
              </a:cxn>
              <a:cxn ang="0">
                <a:pos x="0" y="2159"/>
              </a:cxn>
              <a:cxn ang="0">
                <a:pos x="0" y="1611"/>
              </a:cxn>
              <a:cxn ang="0">
                <a:pos x="0" y="523"/>
              </a:cxn>
              <a:cxn ang="0">
                <a:pos x="0" y="387"/>
              </a:cxn>
              <a:cxn ang="0">
                <a:pos x="5760" y="9"/>
              </a:cxn>
              <a:cxn ang="0">
                <a:pos x="5760" y="312"/>
              </a:cxn>
              <a:cxn ang="0">
                <a:pos x="5760" y="377"/>
              </a:cxn>
              <a:cxn ang="0">
                <a:pos x="5760" y="786"/>
              </a:cxn>
              <a:cxn ang="0">
                <a:pos x="5760" y="1060"/>
              </a:cxn>
              <a:cxn ang="0">
                <a:pos x="5760" y="1262"/>
              </a:cxn>
              <a:cxn ang="0">
                <a:pos x="5758" y="1283"/>
              </a:cxn>
              <a:cxn ang="0">
                <a:pos x="5747" y="1301"/>
              </a:cxn>
              <a:cxn ang="0">
                <a:pos x="5719" y="1339"/>
              </a:cxn>
              <a:cxn ang="0">
                <a:pos x="5650" y="1406"/>
              </a:cxn>
              <a:cxn ang="0">
                <a:pos x="5597" y="1445"/>
              </a:cxn>
              <a:cxn ang="0">
                <a:pos x="5480" y="1515"/>
              </a:cxn>
              <a:cxn ang="0">
                <a:pos x="5295" y="1608"/>
              </a:cxn>
              <a:cxn ang="0">
                <a:pos x="5161" y="1663"/>
              </a:cxn>
              <a:cxn ang="0">
                <a:pos x="4893" y="1759"/>
              </a:cxn>
              <a:cxn ang="0">
                <a:pos x="4615" y="1845"/>
              </a:cxn>
              <a:cxn ang="0">
                <a:pos x="4188" y="1958"/>
              </a:cxn>
              <a:cxn ang="0">
                <a:pos x="3902" y="2027"/>
              </a:cxn>
              <a:cxn ang="0">
                <a:pos x="3614" y="2089"/>
              </a:cxn>
              <a:cxn ang="0">
                <a:pos x="2993" y="2192"/>
              </a:cxn>
              <a:cxn ang="0">
                <a:pos x="2444" y="2281"/>
              </a:cxn>
              <a:cxn ang="0">
                <a:pos x="2160" y="2348"/>
              </a:cxn>
              <a:cxn ang="0">
                <a:pos x="1880" y="2427"/>
              </a:cxn>
              <a:cxn ang="0">
                <a:pos x="1609" y="2517"/>
              </a:cxn>
              <a:cxn ang="0">
                <a:pos x="1410" y="2596"/>
              </a:cxn>
              <a:cxn ang="0">
                <a:pos x="1284" y="2655"/>
              </a:cxn>
              <a:cxn ang="0">
                <a:pos x="1102" y="2749"/>
              </a:cxn>
              <a:cxn ang="0">
                <a:pos x="931" y="2859"/>
              </a:cxn>
              <a:cxn ang="0">
                <a:pos x="822" y="2938"/>
              </a:cxn>
              <a:cxn ang="0">
                <a:pos x="672" y="3069"/>
              </a:cxn>
              <a:cxn ang="0">
                <a:pos x="531" y="3207"/>
              </a:cxn>
              <a:cxn ang="0">
                <a:pos x="447" y="3308"/>
              </a:cxn>
              <a:cxn ang="0">
                <a:pos x="329" y="3468"/>
              </a:cxn>
              <a:cxn ang="0">
                <a:pos x="227" y="3636"/>
              </a:cxn>
              <a:cxn ang="0">
                <a:pos x="167" y="3755"/>
              </a:cxn>
              <a:cxn ang="0">
                <a:pos x="92" y="3940"/>
              </a:cxn>
              <a:cxn ang="0">
                <a:pos x="35" y="4130"/>
              </a:cxn>
              <a:cxn ang="0">
                <a:pos x="7" y="4268"/>
              </a:cxn>
            </a:cxnLst>
            <a:rect l="0" t="0" r="r" b="b"/>
            <a:pathLst>
              <a:path w="5760" h="4339">
                <a:moveTo>
                  <a:pt x="0" y="4339"/>
                </a:moveTo>
                <a:lnTo>
                  <a:pt x="0" y="4339"/>
                </a:lnTo>
                <a:lnTo>
                  <a:pt x="0" y="3797"/>
                </a:lnTo>
                <a:lnTo>
                  <a:pt x="0" y="3797"/>
                </a:lnTo>
                <a:lnTo>
                  <a:pt x="0" y="3252"/>
                </a:lnTo>
                <a:lnTo>
                  <a:pt x="0" y="3252"/>
                </a:lnTo>
                <a:lnTo>
                  <a:pt x="0" y="2705"/>
                </a:lnTo>
                <a:lnTo>
                  <a:pt x="0" y="2705"/>
                </a:lnTo>
                <a:lnTo>
                  <a:pt x="0" y="2159"/>
                </a:lnTo>
                <a:lnTo>
                  <a:pt x="0" y="2159"/>
                </a:lnTo>
                <a:lnTo>
                  <a:pt x="0" y="1611"/>
                </a:lnTo>
                <a:lnTo>
                  <a:pt x="0" y="1611"/>
                </a:lnTo>
                <a:lnTo>
                  <a:pt x="0" y="1066"/>
                </a:lnTo>
                <a:lnTo>
                  <a:pt x="0" y="1066"/>
                </a:lnTo>
                <a:lnTo>
                  <a:pt x="0" y="523"/>
                </a:lnTo>
                <a:lnTo>
                  <a:pt x="0" y="523"/>
                </a:lnTo>
                <a:lnTo>
                  <a:pt x="0" y="387"/>
                </a:lnTo>
                <a:lnTo>
                  <a:pt x="0" y="387"/>
                </a:lnTo>
                <a:lnTo>
                  <a:pt x="0" y="0"/>
                </a:lnTo>
                <a:lnTo>
                  <a:pt x="155" y="9"/>
                </a:lnTo>
                <a:lnTo>
                  <a:pt x="5760" y="9"/>
                </a:lnTo>
                <a:lnTo>
                  <a:pt x="5760" y="310"/>
                </a:lnTo>
                <a:lnTo>
                  <a:pt x="5760" y="312"/>
                </a:lnTo>
                <a:lnTo>
                  <a:pt x="5760" y="312"/>
                </a:lnTo>
                <a:lnTo>
                  <a:pt x="5760" y="344"/>
                </a:lnTo>
                <a:lnTo>
                  <a:pt x="5760" y="377"/>
                </a:lnTo>
                <a:lnTo>
                  <a:pt x="5760" y="377"/>
                </a:lnTo>
                <a:lnTo>
                  <a:pt x="5760" y="512"/>
                </a:lnTo>
                <a:lnTo>
                  <a:pt x="5760" y="512"/>
                </a:lnTo>
                <a:lnTo>
                  <a:pt x="5760" y="786"/>
                </a:lnTo>
                <a:lnTo>
                  <a:pt x="5760" y="786"/>
                </a:lnTo>
                <a:lnTo>
                  <a:pt x="5760" y="1060"/>
                </a:lnTo>
                <a:lnTo>
                  <a:pt x="5760" y="1060"/>
                </a:lnTo>
                <a:lnTo>
                  <a:pt x="5760" y="1195"/>
                </a:lnTo>
                <a:lnTo>
                  <a:pt x="5760" y="1195"/>
                </a:lnTo>
                <a:lnTo>
                  <a:pt x="5760" y="1262"/>
                </a:lnTo>
                <a:lnTo>
                  <a:pt x="5760" y="1262"/>
                </a:lnTo>
                <a:lnTo>
                  <a:pt x="5758" y="1276"/>
                </a:lnTo>
                <a:lnTo>
                  <a:pt x="5758" y="1283"/>
                </a:lnTo>
                <a:lnTo>
                  <a:pt x="5755" y="1289"/>
                </a:lnTo>
                <a:lnTo>
                  <a:pt x="5755" y="1289"/>
                </a:lnTo>
                <a:lnTo>
                  <a:pt x="5747" y="1301"/>
                </a:lnTo>
                <a:lnTo>
                  <a:pt x="5740" y="1315"/>
                </a:lnTo>
                <a:lnTo>
                  <a:pt x="5740" y="1315"/>
                </a:lnTo>
                <a:lnTo>
                  <a:pt x="5719" y="1339"/>
                </a:lnTo>
                <a:lnTo>
                  <a:pt x="5699" y="1363"/>
                </a:lnTo>
                <a:lnTo>
                  <a:pt x="5674" y="1385"/>
                </a:lnTo>
                <a:lnTo>
                  <a:pt x="5650" y="1406"/>
                </a:lnTo>
                <a:lnTo>
                  <a:pt x="5650" y="1406"/>
                </a:lnTo>
                <a:lnTo>
                  <a:pt x="5624" y="1426"/>
                </a:lnTo>
                <a:lnTo>
                  <a:pt x="5597" y="1445"/>
                </a:lnTo>
                <a:lnTo>
                  <a:pt x="5541" y="1481"/>
                </a:lnTo>
                <a:lnTo>
                  <a:pt x="5541" y="1481"/>
                </a:lnTo>
                <a:lnTo>
                  <a:pt x="5480" y="1515"/>
                </a:lnTo>
                <a:lnTo>
                  <a:pt x="5419" y="1548"/>
                </a:lnTo>
                <a:lnTo>
                  <a:pt x="5356" y="1579"/>
                </a:lnTo>
                <a:lnTo>
                  <a:pt x="5295" y="1608"/>
                </a:lnTo>
                <a:lnTo>
                  <a:pt x="5295" y="1608"/>
                </a:lnTo>
                <a:lnTo>
                  <a:pt x="5229" y="1636"/>
                </a:lnTo>
                <a:lnTo>
                  <a:pt x="5161" y="1663"/>
                </a:lnTo>
                <a:lnTo>
                  <a:pt x="5096" y="1689"/>
                </a:lnTo>
                <a:lnTo>
                  <a:pt x="5028" y="1713"/>
                </a:lnTo>
                <a:lnTo>
                  <a:pt x="4893" y="1759"/>
                </a:lnTo>
                <a:lnTo>
                  <a:pt x="4756" y="1804"/>
                </a:lnTo>
                <a:lnTo>
                  <a:pt x="4756" y="1804"/>
                </a:lnTo>
                <a:lnTo>
                  <a:pt x="4615" y="1845"/>
                </a:lnTo>
                <a:lnTo>
                  <a:pt x="4472" y="1885"/>
                </a:lnTo>
                <a:lnTo>
                  <a:pt x="4332" y="1920"/>
                </a:lnTo>
                <a:lnTo>
                  <a:pt x="4188" y="1958"/>
                </a:lnTo>
                <a:lnTo>
                  <a:pt x="4188" y="1958"/>
                </a:lnTo>
                <a:lnTo>
                  <a:pt x="4046" y="1993"/>
                </a:lnTo>
                <a:lnTo>
                  <a:pt x="3902" y="2027"/>
                </a:lnTo>
                <a:lnTo>
                  <a:pt x="3758" y="2059"/>
                </a:lnTo>
                <a:lnTo>
                  <a:pt x="3614" y="2089"/>
                </a:lnTo>
                <a:lnTo>
                  <a:pt x="3614" y="2089"/>
                </a:lnTo>
                <a:lnTo>
                  <a:pt x="3511" y="2108"/>
                </a:lnTo>
                <a:lnTo>
                  <a:pt x="3363" y="2133"/>
                </a:lnTo>
                <a:lnTo>
                  <a:pt x="2993" y="2192"/>
                </a:lnTo>
                <a:lnTo>
                  <a:pt x="2641" y="2248"/>
                </a:lnTo>
                <a:lnTo>
                  <a:pt x="2515" y="2267"/>
                </a:lnTo>
                <a:lnTo>
                  <a:pt x="2444" y="2281"/>
                </a:lnTo>
                <a:lnTo>
                  <a:pt x="2444" y="2281"/>
                </a:lnTo>
                <a:lnTo>
                  <a:pt x="2302" y="2312"/>
                </a:lnTo>
                <a:lnTo>
                  <a:pt x="2160" y="2348"/>
                </a:lnTo>
                <a:lnTo>
                  <a:pt x="2018" y="2386"/>
                </a:lnTo>
                <a:lnTo>
                  <a:pt x="1880" y="2427"/>
                </a:lnTo>
                <a:lnTo>
                  <a:pt x="1880" y="2427"/>
                </a:lnTo>
                <a:lnTo>
                  <a:pt x="1742" y="2470"/>
                </a:lnTo>
                <a:lnTo>
                  <a:pt x="1677" y="2494"/>
                </a:lnTo>
                <a:lnTo>
                  <a:pt x="1609" y="2517"/>
                </a:lnTo>
                <a:lnTo>
                  <a:pt x="1541" y="2543"/>
                </a:lnTo>
                <a:lnTo>
                  <a:pt x="1475" y="2569"/>
                </a:lnTo>
                <a:lnTo>
                  <a:pt x="1410" y="2596"/>
                </a:lnTo>
                <a:lnTo>
                  <a:pt x="1346" y="2625"/>
                </a:lnTo>
                <a:lnTo>
                  <a:pt x="1346" y="2625"/>
                </a:lnTo>
                <a:lnTo>
                  <a:pt x="1284" y="2655"/>
                </a:lnTo>
                <a:lnTo>
                  <a:pt x="1222" y="2684"/>
                </a:lnTo>
                <a:lnTo>
                  <a:pt x="1162" y="2717"/>
                </a:lnTo>
                <a:lnTo>
                  <a:pt x="1102" y="2749"/>
                </a:lnTo>
                <a:lnTo>
                  <a:pt x="1043" y="2785"/>
                </a:lnTo>
                <a:lnTo>
                  <a:pt x="988" y="2821"/>
                </a:lnTo>
                <a:lnTo>
                  <a:pt x="931" y="2859"/>
                </a:lnTo>
                <a:lnTo>
                  <a:pt x="876" y="2899"/>
                </a:lnTo>
                <a:lnTo>
                  <a:pt x="876" y="2899"/>
                </a:lnTo>
                <a:lnTo>
                  <a:pt x="822" y="2938"/>
                </a:lnTo>
                <a:lnTo>
                  <a:pt x="771" y="2980"/>
                </a:lnTo>
                <a:lnTo>
                  <a:pt x="720" y="3023"/>
                </a:lnTo>
                <a:lnTo>
                  <a:pt x="672" y="3069"/>
                </a:lnTo>
                <a:lnTo>
                  <a:pt x="623" y="3113"/>
                </a:lnTo>
                <a:lnTo>
                  <a:pt x="576" y="3159"/>
                </a:lnTo>
                <a:lnTo>
                  <a:pt x="531" y="3207"/>
                </a:lnTo>
                <a:lnTo>
                  <a:pt x="487" y="3257"/>
                </a:lnTo>
                <a:lnTo>
                  <a:pt x="487" y="3257"/>
                </a:lnTo>
                <a:lnTo>
                  <a:pt x="447" y="3308"/>
                </a:lnTo>
                <a:lnTo>
                  <a:pt x="406" y="3360"/>
                </a:lnTo>
                <a:lnTo>
                  <a:pt x="366" y="3413"/>
                </a:lnTo>
                <a:lnTo>
                  <a:pt x="329" y="3468"/>
                </a:lnTo>
                <a:lnTo>
                  <a:pt x="292" y="3523"/>
                </a:lnTo>
                <a:lnTo>
                  <a:pt x="258" y="3579"/>
                </a:lnTo>
                <a:lnTo>
                  <a:pt x="227" y="3636"/>
                </a:lnTo>
                <a:lnTo>
                  <a:pt x="197" y="3694"/>
                </a:lnTo>
                <a:lnTo>
                  <a:pt x="197" y="3694"/>
                </a:lnTo>
                <a:lnTo>
                  <a:pt x="167" y="3755"/>
                </a:lnTo>
                <a:lnTo>
                  <a:pt x="140" y="3814"/>
                </a:lnTo>
                <a:lnTo>
                  <a:pt x="114" y="3876"/>
                </a:lnTo>
                <a:lnTo>
                  <a:pt x="92" y="3940"/>
                </a:lnTo>
                <a:lnTo>
                  <a:pt x="71" y="4003"/>
                </a:lnTo>
                <a:lnTo>
                  <a:pt x="53" y="4067"/>
                </a:lnTo>
                <a:lnTo>
                  <a:pt x="35" y="4130"/>
                </a:lnTo>
                <a:lnTo>
                  <a:pt x="20" y="4195"/>
                </a:lnTo>
                <a:lnTo>
                  <a:pt x="20" y="4195"/>
                </a:lnTo>
                <a:lnTo>
                  <a:pt x="7" y="4268"/>
                </a:lnTo>
                <a:lnTo>
                  <a:pt x="4" y="4303"/>
                </a:lnTo>
                <a:lnTo>
                  <a:pt x="0" y="4339"/>
                </a:lnTo>
                <a:close/>
              </a:path>
            </a:pathLst>
          </a:custGeom>
          <a:blipFill dpi="0" rotWithShape="0">
            <a:blip r:embed="rId2" cstate="print"/>
            <a:srcRect/>
            <a:stretch>
              <a:fillRect r="-10000"/>
            </a:stretch>
          </a:blipFill>
          <a:ln w="9525">
            <a:noFill/>
            <a:round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/>
          <a:lstStyle/>
          <a:p>
            <a:pPr algn="ctr" eaLnBrk="0" hangingPunct="0">
              <a:lnSpc>
                <a:spcPct val="85000"/>
              </a:lnSpc>
              <a:defRPr/>
            </a:pPr>
            <a:endParaRPr lang="en-US" dirty="0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Cover-KeyWord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Image 10" descr="ppt_KeyWords_Bkgd_OK.jpg"/>
          <p:cNvPicPr>
            <a:picLocks noChangeAspect="1"/>
          </p:cNvPicPr>
          <p:nvPr userDrawn="1"/>
        </p:nvPicPr>
        <p:blipFill>
          <a:blip r:embed="rId3" cstate="print"/>
          <a:srcRect b="20413"/>
          <a:stretch>
            <a:fillRect/>
          </a:stretch>
        </p:blipFill>
        <p:spPr>
          <a:xfrm>
            <a:off x="0" y="1285860"/>
            <a:ext cx="9906000" cy="5572140"/>
          </a:xfrm>
          <a:prstGeom prst="rect">
            <a:avLst/>
          </a:prstGeom>
        </p:spPr>
      </p:pic>
      <p:sp>
        <p:nvSpPr>
          <p:cNvPr id="14" name="Freeform 30"/>
          <p:cNvSpPr>
            <a:spLocks/>
          </p:cNvSpPr>
          <p:nvPr userDrawn="1">
            <p:custDataLst>
              <p:tags r:id="rId1"/>
            </p:custDataLst>
          </p:nvPr>
        </p:nvSpPr>
        <p:spPr bwMode="white">
          <a:xfrm>
            <a:off x="-15875" y="1146175"/>
            <a:ext cx="9921875" cy="5711825"/>
          </a:xfrm>
          <a:custGeom>
            <a:avLst/>
            <a:gdLst/>
            <a:ahLst/>
            <a:cxnLst>
              <a:cxn ang="0">
                <a:pos x="0" y="3638"/>
              </a:cxn>
              <a:cxn ang="0">
                <a:pos x="516" y="2658"/>
              </a:cxn>
              <a:cxn ang="0">
                <a:pos x="1352" y="2063"/>
              </a:cxn>
              <a:cxn ang="0">
                <a:pos x="3348" y="1519"/>
              </a:cxn>
              <a:cxn ang="0">
                <a:pos x="4987" y="1078"/>
              </a:cxn>
              <a:cxn ang="0">
                <a:pos x="5762" y="534"/>
              </a:cxn>
              <a:cxn ang="0">
                <a:pos x="5762" y="66"/>
              </a:cxn>
              <a:cxn ang="0">
                <a:pos x="4" y="68"/>
              </a:cxn>
            </a:cxnLst>
            <a:rect l="0" t="0" r="r" b="b"/>
            <a:pathLst>
              <a:path w="5762" h="3638">
                <a:moveTo>
                  <a:pt x="0" y="3638"/>
                </a:moveTo>
                <a:cubicBezTo>
                  <a:pt x="58" y="3452"/>
                  <a:pt x="291" y="2920"/>
                  <a:pt x="516" y="2658"/>
                </a:cubicBezTo>
                <a:cubicBezTo>
                  <a:pt x="794" y="2320"/>
                  <a:pt x="1284" y="2093"/>
                  <a:pt x="1352" y="2063"/>
                </a:cubicBezTo>
                <a:cubicBezTo>
                  <a:pt x="1942" y="1786"/>
                  <a:pt x="2872" y="1624"/>
                  <a:pt x="3348" y="1519"/>
                </a:cubicBezTo>
                <a:cubicBezTo>
                  <a:pt x="3895" y="1390"/>
                  <a:pt x="4592" y="1228"/>
                  <a:pt x="4987" y="1078"/>
                </a:cubicBezTo>
                <a:cubicBezTo>
                  <a:pt x="5384" y="933"/>
                  <a:pt x="5632" y="702"/>
                  <a:pt x="5762" y="534"/>
                </a:cubicBezTo>
                <a:cubicBezTo>
                  <a:pt x="5762" y="0"/>
                  <a:pt x="5762" y="61"/>
                  <a:pt x="5762" y="66"/>
                </a:cubicBezTo>
                <a:cubicBezTo>
                  <a:pt x="4803" y="66"/>
                  <a:pt x="1204" y="68"/>
                  <a:pt x="4" y="68"/>
                </a:cubicBezTo>
              </a:path>
            </a:pathLst>
          </a:custGeom>
          <a:gradFill flip="none" rotWithShape="1">
            <a:gsLst>
              <a:gs pos="0">
                <a:schemeClr val="tx2">
                  <a:alpha val="90000"/>
                </a:schemeClr>
              </a:gs>
              <a:gs pos="0">
                <a:schemeClr val="tx2">
                  <a:alpha val="90000"/>
                </a:schemeClr>
              </a:gs>
              <a:gs pos="100000">
                <a:schemeClr val="tx2">
                  <a:shade val="100000"/>
                  <a:satMod val="115000"/>
                </a:schemeClr>
              </a:gs>
            </a:gsLst>
            <a:lin ang="2700000" scaled="0"/>
            <a:tileRect/>
          </a:gradFill>
          <a:ln w="19050" cap="flat" cmpd="sng">
            <a:noFill/>
            <a:prstDash val="solid"/>
            <a:round/>
            <a:headEnd type="none" w="med" len="med"/>
            <a:tailEnd type="none" w="med" len="me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wrap="none" anchor="ctr"/>
          <a:lstStyle/>
          <a:p>
            <a:pPr algn="ctr" eaLnBrk="0" hangingPunct="0">
              <a:lnSpc>
                <a:spcPct val="85000"/>
              </a:lnSpc>
              <a:defRPr/>
            </a:pPr>
            <a:endParaRPr lang="en-US" noProof="0" dirty="0"/>
          </a:p>
        </p:txBody>
      </p:sp>
      <p:pic>
        <p:nvPicPr>
          <p:cNvPr id="9" name="Picture 6" descr="OK_Capgemini"/>
          <p:cNvPicPr>
            <a:picLocks noChangeAspect="1" noChangeArrowheads="1"/>
          </p:cNvPicPr>
          <p:nvPr userDrawn="1"/>
        </p:nvPicPr>
        <p:blipFill>
          <a:blip r:embed="rId4" cstate="screen"/>
          <a:srcRect/>
          <a:stretch>
            <a:fillRect/>
          </a:stretch>
        </p:blipFill>
        <p:spPr bwMode="auto">
          <a:xfrm>
            <a:off x="328613" y="368300"/>
            <a:ext cx="2159000" cy="509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099" name="Rectangle 3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0" y="2801938"/>
            <a:ext cx="5293519" cy="792162"/>
          </a:xfrm>
        </p:spPr>
        <p:txBody>
          <a:bodyPr lIns="324000" tIns="180000" rIns="0"/>
          <a:lstStyle>
            <a:lvl1pPr marL="3175" indent="0">
              <a:buFont typeface="Wingdings" pitchFamily="2" charset="2"/>
              <a:buNone/>
              <a:defRPr sz="2000">
                <a:solidFill>
                  <a:schemeClr val="bg1"/>
                </a:solidFill>
                <a:latin typeface="Arial Narrow" pitchFamily="34" charset="0"/>
              </a:defRPr>
            </a:lvl1pPr>
          </a:lstStyle>
          <a:p>
            <a:r>
              <a:rPr lang="en-US" noProof="0" smtClean="0"/>
              <a:t>Click to edit Master sub-title style</a:t>
            </a:r>
            <a:endParaRPr lang="en-US" noProof="0"/>
          </a:p>
        </p:txBody>
      </p:sp>
      <p:sp>
        <p:nvSpPr>
          <p:cNvPr id="4098" name="Rectangle 2"/>
          <p:cNvSpPr>
            <a:spLocks noGrp="1" noChangeArrowheads="1"/>
          </p:cNvSpPr>
          <p:nvPr>
            <p:ph type="ctrTitle" hasCustomPrompt="1"/>
          </p:nvPr>
        </p:nvSpPr>
        <p:spPr bwMode="auto">
          <a:xfrm>
            <a:off x="0" y="1240390"/>
            <a:ext cx="9906000" cy="1512887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324000" tIns="396000" rIns="36000" bIns="36000" numCol="1" anchor="t" anchorCtr="0" compatLnSpc="1">
            <a:prstTxWarp prst="textNoShape">
              <a:avLst/>
            </a:prstTxWarp>
          </a:bodyPr>
          <a:lstStyle>
            <a:lvl1pPr marL="0" indent="0" algn="l" defTabSz="91440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  <a:tabLst/>
              <a:defRPr lang="en-US" sz="3600" b="1" kern="1200" noProof="0" dirty="0">
                <a:solidFill>
                  <a:schemeClr val="tx2">
                    <a:lumMod val="20000"/>
                    <a:lumOff val="80000"/>
                  </a:schemeClr>
                </a:solidFill>
                <a:latin typeface="Arial Narrow" pitchFamily="34" charset="0"/>
                <a:ea typeface="+mj-ea"/>
                <a:cs typeface="+mj-cs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pic>
        <p:nvPicPr>
          <p:cNvPr id="10" name="Image 9" descr="Capgemini_Slogan_RGB.png"/>
          <p:cNvPicPr>
            <a:picLocks noChangeAspect="1"/>
          </p:cNvPicPr>
          <p:nvPr userDrawn="1"/>
        </p:nvPicPr>
        <p:blipFill>
          <a:blip r:embed="rId5" cstate="print"/>
          <a:stretch>
            <a:fillRect/>
          </a:stretch>
        </p:blipFill>
        <p:spPr>
          <a:xfrm>
            <a:off x="6164480" y="373713"/>
            <a:ext cx="3482792" cy="360000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able of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>
          <a:xfrm>
            <a:off x="0" y="1224000"/>
            <a:ext cx="9906000" cy="1188000"/>
          </a:xfrm>
        </p:spPr>
        <p:txBody>
          <a:bodyPr tIns="180000" anchor="ctr" anchorCtr="0"/>
          <a:lstStyle>
            <a:lvl1pPr>
              <a:defRPr b="1" cap="small" baseline="0"/>
            </a:lvl1pPr>
          </a:lstStyle>
          <a:p>
            <a:r>
              <a:rPr lang="en-US" noProof="0" dirty="0" smtClean="0"/>
              <a:t>Click to edit title style</a:t>
            </a:r>
            <a:endParaRPr lang="en-US" noProof="0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>
          <a:xfrm>
            <a:off x="0" y="2543175"/>
            <a:ext cx="9906000" cy="3552825"/>
          </a:xfrm>
        </p:spPr>
        <p:txBody>
          <a:bodyPr/>
          <a:lstStyle>
            <a:lvl1pPr marL="265113" indent="-265113">
              <a:defRPr/>
            </a:lvl1pPr>
            <a:lvl2pPr>
              <a:defRPr/>
            </a:lvl2pPr>
            <a:lvl3pPr>
              <a:buNone/>
              <a:defRPr/>
            </a:lvl3pPr>
            <a:lvl4pPr>
              <a:buNone/>
              <a:defRPr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</p:txBody>
      </p:sp>
      <p:sp>
        <p:nvSpPr>
          <p:cNvPr id="10" name="Rectangle 18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8632820" y="6554788"/>
            <a:ext cx="1265237" cy="104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36000" tIns="0" rIns="36000" bIns="0" numCol="1" anchor="ctr" anchorCtr="0" compatLnSpc="1">
            <a:prstTxWarp prst="textNoShape">
              <a:avLst/>
            </a:prstTxWarp>
            <a:spAutoFit/>
          </a:bodyPr>
          <a:lstStyle>
            <a:lvl1pPr algn="r" eaLnBrk="0" hangingPunct="0">
              <a:lnSpc>
                <a:spcPct val="85000"/>
              </a:lnSpc>
              <a:defRPr sz="800" b="0">
                <a:solidFill>
                  <a:schemeClr val="tx1"/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en-US" noProof="0" dirty="0"/>
          </a:p>
        </p:txBody>
      </p:sp>
      <p:sp>
        <p:nvSpPr>
          <p:cNvPr id="11" name="Rectangle 19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648000" y="6732000"/>
            <a:ext cx="252000" cy="104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36000" tIns="0" rIns="36000" bIns="0" numCol="1" anchor="ctr" anchorCtr="0" compatLnSpc="1">
            <a:prstTxWarp prst="textNoShape">
              <a:avLst/>
            </a:prstTxWarp>
            <a:spAutoFit/>
          </a:bodyPr>
          <a:lstStyle>
            <a:lvl1pPr algn="r" eaLnBrk="0" hangingPunct="0">
              <a:lnSpc>
                <a:spcPct val="85000"/>
              </a:lnSpc>
              <a:defRPr sz="800" b="0">
                <a:solidFill>
                  <a:srgbClr val="000000"/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9D48B0A8-A3BB-4090-A486-05597CC74740}" type="slidenum">
              <a:rPr lang="en-US" noProof="0"/>
              <a:pPr>
                <a:defRPr/>
              </a:pPr>
              <a:t>‹#›</a:t>
            </a:fld>
            <a:endParaRPr lang="en-US" noProof="0" dirty="0"/>
          </a:p>
        </p:txBody>
      </p:sp>
      <p:sp>
        <p:nvSpPr>
          <p:cNvPr id="12" name="Rectangle 17"/>
          <p:cNvSpPr>
            <a:spLocks noGrp="1" noChangeArrowheads="1"/>
          </p:cNvSpPr>
          <p:nvPr>
            <p:ph type="dt" sz="half" idx="2"/>
          </p:nvPr>
        </p:nvSpPr>
        <p:spPr>
          <a:xfrm>
            <a:off x="6787908" y="6692904"/>
            <a:ext cx="2880000" cy="165100"/>
          </a:xfrm>
          <a:prstGeom prst="rect">
            <a:avLst/>
          </a:prstGeom>
          <a:ln/>
        </p:spPr>
        <p:txBody>
          <a:bodyPr/>
          <a:lstStyle>
            <a:lvl1pPr algn="r" eaLnBrk="0" hangingPunct="0">
              <a:lnSpc>
                <a:spcPct val="85000"/>
              </a:lnSpc>
              <a:defRPr sz="600"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endParaRPr lang="en-US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Mast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>
          <a:xfrm>
            <a:off x="0" y="0"/>
            <a:ext cx="9906000" cy="118800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>
          <a:xfrm>
            <a:off x="0" y="1439999"/>
            <a:ext cx="9906000" cy="4680000"/>
          </a:xfrm>
        </p:spPr>
        <p:txBody>
          <a:bodyPr/>
          <a:lstStyle>
            <a:lvl1pPr marL="273050" indent="-273050">
              <a:defRPr baseline="0">
                <a:solidFill>
                  <a:schemeClr val="tx1"/>
                </a:solidFill>
              </a:defRPr>
            </a:lvl1pPr>
            <a:lvl2pPr marL="531813" indent="-176213">
              <a:defRPr>
                <a:solidFill>
                  <a:schemeClr val="tx1"/>
                </a:solidFill>
              </a:defRPr>
            </a:lvl2pPr>
            <a:lvl3pPr marL="804863" indent="-177800">
              <a:buClr>
                <a:schemeClr val="accent1"/>
              </a:buClr>
              <a:buFont typeface="Courier New" pitchFamily="49" charset="0"/>
              <a:buChar char="o"/>
              <a:defRPr>
                <a:solidFill>
                  <a:schemeClr val="tx1"/>
                </a:solidFill>
              </a:defRPr>
            </a:lvl3pPr>
            <a:lvl4pPr marL="1160463" indent="-260350">
              <a:buClr>
                <a:schemeClr val="accent3"/>
              </a:buClr>
              <a:defRPr>
                <a:solidFill>
                  <a:schemeClr val="tx1"/>
                </a:solidFill>
              </a:defRPr>
            </a:lvl4pPr>
            <a:lvl5pPr marL="1433513" indent="-177800">
              <a:defRPr sz="1400" baseline="0"/>
            </a:lvl5pPr>
            <a:lvl6pPr>
              <a:buNone/>
              <a:defRPr/>
            </a:lvl6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  <a:p>
            <a:pPr lvl="4"/>
            <a:r>
              <a:rPr lang="en-US" noProof="0" dirty="0" smtClean="0"/>
              <a:t>Text style level 5</a:t>
            </a:r>
          </a:p>
        </p:txBody>
      </p:sp>
      <p:sp>
        <p:nvSpPr>
          <p:cNvPr id="7" name="Rectangle 18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8632820" y="6554788"/>
            <a:ext cx="1265237" cy="104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36000" tIns="0" rIns="36000" bIns="0" numCol="1" anchor="ctr" anchorCtr="0" compatLnSpc="1">
            <a:prstTxWarp prst="textNoShape">
              <a:avLst/>
            </a:prstTxWarp>
            <a:spAutoFit/>
          </a:bodyPr>
          <a:lstStyle>
            <a:lvl1pPr algn="r" eaLnBrk="0" hangingPunct="0">
              <a:lnSpc>
                <a:spcPct val="85000"/>
              </a:lnSpc>
              <a:defRPr sz="800" b="0">
                <a:solidFill>
                  <a:schemeClr val="tx1"/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en-US" noProof="0" dirty="0"/>
          </a:p>
        </p:txBody>
      </p:sp>
      <p:sp>
        <p:nvSpPr>
          <p:cNvPr id="8" name="Rectangle 19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648000" y="6732000"/>
            <a:ext cx="252000" cy="104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36000" tIns="0" rIns="36000" bIns="0" numCol="1" anchor="ctr" anchorCtr="0" compatLnSpc="1">
            <a:prstTxWarp prst="textNoShape">
              <a:avLst/>
            </a:prstTxWarp>
            <a:spAutoFit/>
          </a:bodyPr>
          <a:lstStyle>
            <a:lvl1pPr algn="r" eaLnBrk="0" hangingPunct="0">
              <a:lnSpc>
                <a:spcPct val="85000"/>
              </a:lnSpc>
              <a:defRPr sz="800" b="0">
                <a:solidFill>
                  <a:srgbClr val="000000"/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9D48B0A8-A3BB-4090-A486-05597CC74740}" type="slidenum">
              <a:rPr lang="en-US" noProof="0"/>
              <a:pPr>
                <a:defRPr/>
              </a:pPr>
              <a:t>‹#›</a:t>
            </a:fld>
            <a:endParaRPr lang="en-US" noProof="0" dirty="0"/>
          </a:p>
        </p:txBody>
      </p:sp>
      <p:sp>
        <p:nvSpPr>
          <p:cNvPr id="9" name="Rectangle 17"/>
          <p:cNvSpPr>
            <a:spLocks noGrp="1" noChangeArrowheads="1"/>
          </p:cNvSpPr>
          <p:nvPr>
            <p:ph type="dt" sz="half" idx="2"/>
          </p:nvPr>
        </p:nvSpPr>
        <p:spPr>
          <a:xfrm>
            <a:off x="6787908" y="6692904"/>
            <a:ext cx="2880000" cy="165100"/>
          </a:xfrm>
          <a:prstGeom prst="rect">
            <a:avLst/>
          </a:prstGeom>
          <a:ln/>
        </p:spPr>
        <p:txBody>
          <a:bodyPr/>
          <a:lstStyle>
            <a:lvl1pPr algn="r" eaLnBrk="0" hangingPunct="0">
              <a:lnSpc>
                <a:spcPct val="85000"/>
              </a:lnSpc>
              <a:defRPr sz="600"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endParaRPr lang="en-US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Master with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>
          <a:xfrm>
            <a:off x="0" y="0"/>
            <a:ext cx="9906000" cy="118800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252000" rIns="72000" bIns="36000" numCol="1" anchor="ctr" anchorCtr="0" compatLnSpc="1">
            <a:prstTxWarp prst="textNoShape">
              <a:avLst/>
            </a:prstTxWarp>
          </a:bodyPr>
          <a:lstStyle>
            <a:lvl1pPr marL="714375" indent="-714375" algn="ctr" rtl="0" eaLnBrk="0" fontAlgn="base" hangingPunct="0">
              <a:spcBef>
                <a:spcPct val="0"/>
              </a:spcBef>
              <a:spcAft>
                <a:spcPct val="0"/>
              </a:spcAft>
              <a:defRPr lang="en-US" sz="3000" b="1" noProof="0" dirty="0" smtClean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>
          <a:xfrm>
            <a:off x="0" y="2101755"/>
            <a:ext cx="9906000" cy="4024408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288000" tIns="36000" rIns="72000" bIns="36000" numCol="1" anchor="t" anchorCtr="0" compatLnSpc="1">
            <a:prstTxWarp prst="textNoShape">
              <a:avLst/>
            </a:prstTxWarp>
          </a:bodyPr>
          <a:lstStyle>
            <a:lvl1pPr algn="l" defTabSz="714375" rtl="0" eaLnBrk="0" fontAlgn="base" hangingPunct="0">
              <a:spcBef>
                <a:spcPct val="20000"/>
              </a:spcBef>
              <a:spcAft>
                <a:spcPct val="0"/>
              </a:spcAft>
              <a:defRPr lang="fr-FR" sz="24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algn="l" defTabSz="714375" rtl="0" eaLnBrk="0" fontAlgn="base" hangingPunct="0">
              <a:spcBef>
                <a:spcPct val="20000"/>
              </a:spcBef>
              <a:spcAft>
                <a:spcPct val="0"/>
              </a:spcAft>
              <a:defRPr lang="fr-FR" sz="20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714375" rtl="0" eaLnBrk="0" fontAlgn="base" hangingPunct="0">
              <a:spcBef>
                <a:spcPct val="20000"/>
              </a:spcBef>
              <a:spcAft>
                <a:spcPct val="0"/>
              </a:spcAft>
              <a:defRPr lang="fr-FR" sz="18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algn="l" defTabSz="714375" rtl="0" eaLnBrk="0" fontAlgn="base" hangingPunct="0">
              <a:spcBef>
                <a:spcPct val="20000"/>
              </a:spcBef>
              <a:spcAft>
                <a:spcPct val="0"/>
              </a:spcAft>
              <a:defRPr lang="fr-FR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27163" indent="-266700" algn="l" defTabSz="636588" rtl="0" eaLnBrk="0" fontAlgn="base" hangingPunct="0">
              <a:spcBef>
                <a:spcPct val="20000"/>
              </a:spcBef>
              <a:spcAft>
                <a:spcPct val="0"/>
              </a:spcAft>
              <a:defRPr lang="en-US" sz="14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  <a:p>
            <a:pPr lvl="4"/>
            <a:r>
              <a:rPr lang="en-US" noProof="0" dirty="0" smtClean="0"/>
              <a:t>Text style level 5</a:t>
            </a:r>
            <a:endParaRPr lang="en-US" noProof="0" dirty="0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 hasCustomPrompt="1"/>
          </p:nvPr>
        </p:nvSpPr>
        <p:spPr>
          <a:xfrm>
            <a:off x="0" y="1440000"/>
            <a:ext cx="9906000" cy="557473"/>
          </a:xfrm>
        </p:spPr>
        <p:txBody>
          <a:bodyPr/>
          <a:lstStyle>
            <a:lvl1pPr marL="0" indent="0">
              <a:buNone/>
              <a:defRPr sz="2400" b="1" baseline="0">
                <a:solidFill>
                  <a:schemeClr val="accent2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9" name="Rectangle 18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8632820" y="6554788"/>
            <a:ext cx="1265237" cy="104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36000" tIns="0" rIns="36000" bIns="0" numCol="1" anchor="ctr" anchorCtr="0" compatLnSpc="1">
            <a:prstTxWarp prst="textNoShape">
              <a:avLst/>
            </a:prstTxWarp>
            <a:spAutoFit/>
          </a:bodyPr>
          <a:lstStyle>
            <a:lvl1pPr algn="r" eaLnBrk="0" hangingPunct="0">
              <a:lnSpc>
                <a:spcPct val="85000"/>
              </a:lnSpc>
              <a:defRPr sz="800" b="0">
                <a:solidFill>
                  <a:schemeClr val="tx1"/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en-US" noProof="0" dirty="0"/>
          </a:p>
        </p:txBody>
      </p:sp>
      <p:sp>
        <p:nvSpPr>
          <p:cNvPr id="10" name="Rectangle 19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648000" y="6732000"/>
            <a:ext cx="252000" cy="104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36000" tIns="0" rIns="36000" bIns="0" numCol="1" anchor="ctr" anchorCtr="0" compatLnSpc="1">
            <a:prstTxWarp prst="textNoShape">
              <a:avLst/>
            </a:prstTxWarp>
            <a:spAutoFit/>
          </a:bodyPr>
          <a:lstStyle>
            <a:lvl1pPr algn="r" eaLnBrk="0" hangingPunct="0">
              <a:lnSpc>
                <a:spcPct val="85000"/>
              </a:lnSpc>
              <a:defRPr sz="800" b="0">
                <a:solidFill>
                  <a:srgbClr val="000000"/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9D48B0A8-A3BB-4090-A486-05597CC74740}" type="slidenum">
              <a:rPr lang="en-US" noProof="0"/>
              <a:pPr>
                <a:defRPr/>
              </a:pPr>
              <a:t>‹#›</a:t>
            </a:fld>
            <a:endParaRPr lang="en-US" noProof="0" dirty="0"/>
          </a:p>
        </p:txBody>
      </p:sp>
      <p:sp>
        <p:nvSpPr>
          <p:cNvPr id="11" name="Rectangle 17"/>
          <p:cNvSpPr>
            <a:spLocks noGrp="1" noChangeArrowheads="1"/>
          </p:cNvSpPr>
          <p:nvPr>
            <p:ph type="dt" sz="half" idx="10"/>
          </p:nvPr>
        </p:nvSpPr>
        <p:spPr>
          <a:xfrm>
            <a:off x="6787908" y="6692904"/>
            <a:ext cx="2880000" cy="165100"/>
          </a:xfrm>
          <a:prstGeom prst="rect">
            <a:avLst/>
          </a:prstGeom>
          <a:ln/>
        </p:spPr>
        <p:txBody>
          <a:bodyPr/>
          <a:lstStyle>
            <a:lvl1pPr algn="r" eaLnBrk="0" hangingPunct="0">
              <a:lnSpc>
                <a:spcPct val="85000"/>
              </a:lnSpc>
              <a:defRPr sz="600"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endParaRPr lang="en-US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>
          <a:xfrm>
            <a:off x="0" y="0"/>
            <a:ext cx="9906000" cy="1188000"/>
          </a:xfrm>
        </p:spPr>
        <p:txBody>
          <a:bodyPr/>
          <a:lstStyle>
            <a:lvl1pPr>
              <a:lnSpc>
                <a:spcPct val="90000"/>
              </a:lnSpc>
              <a:defRPr/>
            </a:lvl1pPr>
          </a:lstStyle>
          <a:p>
            <a:r>
              <a:rPr lang="en-US" noProof="0" smtClean="0"/>
              <a:t>Click to edit Master title style</a:t>
            </a:r>
            <a:endParaRPr lang="en-US" noProof="0"/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 hasCustomPrompt="1"/>
          </p:nvPr>
        </p:nvSpPr>
        <p:spPr>
          <a:xfrm>
            <a:off x="180000" y="1440000"/>
            <a:ext cx="4680000" cy="4633200"/>
          </a:xfrm>
        </p:spPr>
        <p:txBody>
          <a:bodyPr lIns="72000" rIns="36000"/>
          <a:lstStyle>
            <a:lvl1pPr>
              <a:defRPr sz="2000" baseline="0"/>
            </a:lvl1pPr>
            <a:lvl2pPr>
              <a:defRPr sz="1800"/>
            </a:lvl2pPr>
            <a:lvl3pPr>
              <a:defRPr sz="1600"/>
            </a:lvl3pPr>
            <a:lvl4pPr>
              <a:defRPr sz="1400" baseline="0"/>
            </a:lvl4pPr>
            <a:lvl5pPr marL="1350963" indent="-190500"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itle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4" hasCustomPrompt="1"/>
          </p:nvPr>
        </p:nvSpPr>
        <p:spPr>
          <a:xfrm>
            <a:off x="5040000" y="1440000"/>
            <a:ext cx="4680000" cy="4633200"/>
          </a:xfrm>
        </p:spPr>
        <p:txBody>
          <a:bodyPr lIns="72000" rIns="36000"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 baseline="0"/>
            </a:lvl4pPr>
            <a:lvl5pPr marL="1350963" indent="-190500"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itle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8" name="Rectangle 18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8632820" y="6554788"/>
            <a:ext cx="1265237" cy="104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36000" tIns="0" rIns="36000" bIns="0" numCol="1" anchor="ctr" anchorCtr="0" compatLnSpc="1">
            <a:prstTxWarp prst="textNoShape">
              <a:avLst/>
            </a:prstTxWarp>
            <a:spAutoFit/>
          </a:bodyPr>
          <a:lstStyle>
            <a:lvl1pPr algn="r" eaLnBrk="0" hangingPunct="0">
              <a:lnSpc>
                <a:spcPct val="85000"/>
              </a:lnSpc>
              <a:defRPr sz="800" b="0">
                <a:solidFill>
                  <a:schemeClr val="tx1"/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en-US" noProof="0" dirty="0"/>
          </a:p>
        </p:txBody>
      </p:sp>
      <p:sp>
        <p:nvSpPr>
          <p:cNvPr id="9" name="Rectangle 19"/>
          <p:cNvSpPr>
            <a:spLocks noGrp="1" noChangeArrowheads="1"/>
          </p:cNvSpPr>
          <p:nvPr>
            <p:ph type="sldNum" sz="quarter" idx="10"/>
          </p:nvPr>
        </p:nvSpPr>
        <p:spPr bwMode="auto">
          <a:xfrm>
            <a:off x="9648000" y="6732000"/>
            <a:ext cx="252000" cy="104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36000" tIns="0" rIns="36000" bIns="0" numCol="1" anchor="ctr" anchorCtr="0" compatLnSpc="1">
            <a:prstTxWarp prst="textNoShape">
              <a:avLst/>
            </a:prstTxWarp>
            <a:spAutoFit/>
          </a:bodyPr>
          <a:lstStyle>
            <a:lvl1pPr algn="r" eaLnBrk="0" hangingPunct="0">
              <a:lnSpc>
                <a:spcPct val="85000"/>
              </a:lnSpc>
              <a:defRPr sz="800" b="0">
                <a:solidFill>
                  <a:srgbClr val="000000"/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9D48B0A8-A3BB-4090-A486-05597CC74740}" type="slidenum">
              <a:rPr lang="en-US" noProof="0"/>
              <a:pPr>
                <a:defRPr/>
              </a:pPr>
              <a:t>‹#›</a:t>
            </a:fld>
            <a:endParaRPr lang="en-US" noProof="0" dirty="0"/>
          </a:p>
        </p:txBody>
      </p:sp>
      <p:sp>
        <p:nvSpPr>
          <p:cNvPr id="13" name="Rectangle 17"/>
          <p:cNvSpPr>
            <a:spLocks noGrp="1" noChangeArrowheads="1"/>
          </p:cNvSpPr>
          <p:nvPr>
            <p:ph type="dt" sz="half" idx="11"/>
          </p:nvPr>
        </p:nvSpPr>
        <p:spPr>
          <a:xfrm>
            <a:off x="6787908" y="6692904"/>
            <a:ext cx="2880000" cy="165100"/>
          </a:xfrm>
          <a:prstGeom prst="rect">
            <a:avLst/>
          </a:prstGeom>
          <a:ln/>
        </p:spPr>
        <p:txBody>
          <a:bodyPr/>
          <a:lstStyle>
            <a:lvl1pPr algn="r" eaLnBrk="0" hangingPunct="0">
              <a:lnSpc>
                <a:spcPct val="85000"/>
              </a:lnSpc>
              <a:defRPr sz="600"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endParaRPr lang="en-US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ntents with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smtClean="0"/>
              <a:t>Click to edit Master title style</a:t>
            </a:r>
            <a:endParaRPr lang="en-US" noProof="0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 hasCustomPrompt="1"/>
          </p:nvPr>
        </p:nvSpPr>
        <p:spPr>
          <a:xfrm>
            <a:off x="204716" y="1440000"/>
            <a:ext cx="4667322" cy="639762"/>
          </a:xfrm>
        </p:spPr>
        <p:txBody>
          <a:bodyPr lIns="36000" rIns="36000"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buNone/>
              <a:defRPr sz="2400" b="1" baseline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 hasCustomPrompt="1"/>
          </p:nvPr>
        </p:nvSpPr>
        <p:spPr>
          <a:xfrm>
            <a:off x="204716" y="2092987"/>
            <a:ext cx="4667322" cy="3951288"/>
          </a:xfrm>
        </p:spPr>
        <p:txBody>
          <a:bodyPr lIns="72000" rIns="36000"/>
          <a:lstStyle>
            <a:lvl1pPr>
              <a:defRPr sz="2000" baseline="0"/>
            </a:lvl1pPr>
            <a:lvl2pPr>
              <a:defRPr sz="1800"/>
            </a:lvl2pPr>
            <a:lvl3pPr>
              <a:defRPr sz="1600"/>
            </a:lvl3pPr>
            <a:lvl4pPr>
              <a:defRPr sz="1400" baseline="0"/>
            </a:lvl4pPr>
            <a:lvl5pPr marL="1350963" indent="-190500"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itle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3" hasCustomPrompt="1"/>
          </p:nvPr>
        </p:nvSpPr>
        <p:spPr>
          <a:xfrm>
            <a:off x="5100615" y="1440000"/>
            <a:ext cx="4616592" cy="639762"/>
          </a:xfrm>
        </p:spPr>
        <p:txBody>
          <a:bodyPr lIns="36000" rIns="36000"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4" hasCustomPrompt="1"/>
          </p:nvPr>
        </p:nvSpPr>
        <p:spPr>
          <a:xfrm>
            <a:off x="5100615" y="2092987"/>
            <a:ext cx="4616592" cy="3951288"/>
          </a:xfrm>
        </p:spPr>
        <p:txBody>
          <a:bodyPr lIns="72000" rIns="36000"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 baseline="0"/>
            </a:lvl4pPr>
            <a:lvl5pPr marL="1350963" indent="-190500"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itle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13" name="Rectangle 18"/>
          <p:cNvSpPr>
            <a:spLocks noGrp="1" noChangeArrowheads="1"/>
          </p:cNvSpPr>
          <p:nvPr>
            <p:ph type="ftr" sz="quarter" idx="10"/>
          </p:nvPr>
        </p:nvSpPr>
        <p:spPr bwMode="auto">
          <a:xfrm>
            <a:off x="8632820" y="6554788"/>
            <a:ext cx="1265237" cy="104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36000" tIns="0" rIns="36000" bIns="0" numCol="1" anchor="ctr" anchorCtr="0" compatLnSpc="1">
            <a:prstTxWarp prst="textNoShape">
              <a:avLst/>
            </a:prstTxWarp>
            <a:spAutoFit/>
          </a:bodyPr>
          <a:lstStyle>
            <a:lvl1pPr algn="r" eaLnBrk="0" hangingPunct="0">
              <a:lnSpc>
                <a:spcPct val="85000"/>
              </a:lnSpc>
              <a:defRPr sz="800" b="0">
                <a:solidFill>
                  <a:schemeClr val="tx1"/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en-US" noProof="0" dirty="0"/>
          </a:p>
        </p:txBody>
      </p:sp>
      <p:sp>
        <p:nvSpPr>
          <p:cNvPr id="14" name="Rectangle 19"/>
          <p:cNvSpPr>
            <a:spLocks noGrp="1" noChangeArrowheads="1"/>
          </p:cNvSpPr>
          <p:nvPr>
            <p:ph type="sldNum" sz="quarter" idx="11"/>
          </p:nvPr>
        </p:nvSpPr>
        <p:spPr bwMode="auto">
          <a:xfrm>
            <a:off x="9648000" y="6732000"/>
            <a:ext cx="252000" cy="104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36000" tIns="0" rIns="36000" bIns="0" numCol="1" anchor="ctr" anchorCtr="0" compatLnSpc="1">
            <a:prstTxWarp prst="textNoShape">
              <a:avLst/>
            </a:prstTxWarp>
            <a:spAutoFit/>
          </a:bodyPr>
          <a:lstStyle>
            <a:lvl1pPr algn="r" eaLnBrk="0" hangingPunct="0">
              <a:lnSpc>
                <a:spcPct val="85000"/>
              </a:lnSpc>
              <a:defRPr sz="800" b="0">
                <a:solidFill>
                  <a:srgbClr val="000000"/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9D48B0A8-A3BB-4090-A486-05597CC74740}" type="slidenum">
              <a:rPr lang="en-US" noProof="0"/>
              <a:pPr>
                <a:defRPr/>
              </a:pPr>
              <a:t>‹#›</a:t>
            </a:fld>
            <a:endParaRPr lang="en-US" noProof="0" dirty="0"/>
          </a:p>
        </p:txBody>
      </p:sp>
      <p:sp>
        <p:nvSpPr>
          <p:cNvPr id="15" name="Rectangle 17"/>
          <p:cNvSpPr>
            <a:spLocks noGrp="1" noChangeArrowheads="1"/>
          </p:cNvSpPr>
          <p:nvPr>
            <p:ph type="dt" sz="half" idx="12"/>
          </p:nvPr>
        </p:nvSpPr>
        <p:spPr>
          <a:xfrm>
            <a:off x="6787908" y="6692904"/>
            <a:ext cx="2880000" cy="165100"/>
          </a:xfrm>
          <a:prstGeom prst="rect">
            <a:avLst/>
          </a:prstGeom>
          <a:ln/>
        </p:spPr>
        <p:txBody>
          <a:bodyPr/>
          <a:lstStyle>
            <a:lvl1pPr algn="r" eaLnBrk="0" hangingPunct="0">
              <a:lnSpc>
                <a:spcPct val="85000"/>
              </a:lnSpc>
              <a:defRPr sz="600"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endParaRPr lang="en-US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acts Inf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>
          <a:xfrm>
            <a:off x="0" y="0"/>
            <a:ext cx="9906000" cy="1188000"/>
          </a:xfrm>
        </p:spPr>
        <p:txBody>
          <a:bodyPr/>
          <a:lstStyle>
            <a:lvl1pPr>
              <a:defRPr baseline="0">
                <a:solidFill>
                  <a:schemeClr val="tx2"/>
                </a:solidFill>
              </a:defRPr>
            </a:lvl1pPr>
          </a:lstStyle>
          <a:p>
            <a:r>
              <a:rPr lang="en-US" noProof="0" dirty="0" smtClean="0"/>
              <a:t>More information</a:t>
            </a:r>
            <a:endParaRPr lang="en-US" noProof="0" dirty="0"/>
          </a:p>
        </p:txBody>
      </p:sp>
      <p:pic>
        <p:nvPicPr>
          <p:cNvPr id="7" name="Picture 12" descr="OK_Capgemini"/>
          <p:cNvPicPr>
            <a:picLocks noChangeAspect="1" noChangeArrowheads="1"/>
          </p:cNvPicPr>
          <p:nvPr userDrawn="1"/>
        </p:nvPicPr>
        <p:blipFill>
          <a:blip r:embed="rId2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220663" y="6381750"/>
            <a:ext cx="1558925" cy="339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Rectangle 26"/>
          <p:cNvSpPr>
            <a:spLocks noChangeArrowheads="1"/>
          </p:cNvSpPr>
          <p:nvPr userDrawn="1"/>
        </p:nvSpPr>
        <p:spPr bwMode="auto">
          <a:xfrm>
            <a:off x="0" y="6286500"/>
            <a:ext cx="9907200" cy="17463"/>
          </a:xfrm>
          <a:prstGeom prst="rect">
            <a:avLst/>
          </a:prstGeom>
          <a:gradFill rotWithShape="1">
            <a:gsLst>
              <a:gs pos="0">
                <a:schemeClr val="tx2">
                  <a:gamma/>
                  <a:tint val="22353"/>
                  <a:invGamma/>
                </a:schemeClr>
              </a:gs>
              <a:gs pos="100000">
                <a:schemeClr val="tx2"/>
              </a:gs>
            </a:gsLst>
            <a:lin ang="0" scaled="1"/>
          </a:gradFill>
          <a:ln w="9525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 eaLnBrk="0" hangingPunct="0">
              <a:lnSpc>
                <a:spcPct val="85000"/>
              </a:lnSpc>
              <a:defRPr/>
            </a:pPr>
            <a:endParaRPr lang="en-US" noProof="0" dirty="0"/>
          </a:p>
        </p:txBody>
      </p:sp>
      <p:sp>
        <p:nvSpPr>
          <p:cNvPr id="12" name="Freeform 23"/>
          <p:cNvSpPr>
            <a:spLocks/>
          </p:cNvSpPr>
          <p:nvPr/>
        </p:nvSpPr>
        <p:spPr bwMode="auto">
          <a:xfrm>
            <a:off x="0" y="0"/>
            <a:ext cx="3457575" cy="1235075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1" y="405"/>
              </a:cxn>
              <a:cxn ang="0">
                <a:pos x="1048" y="0"/>
              </a:cxn>
              <a:cxn ang="0">
                <a:pos x="0" y="0"/>
              </a:cxn>
            </a:cxnLst>
            <a:rect l="0" t="0" r="r" b="b"/>
            <a:pathLst>
              <a:path w="1048" h="405">
                <a:moveTo>
                  <a:pt x="0" y="0"/>
                </a:moveTo>
                <a:cubicBezTo>
                  <a:pt x="1" y="405"/>
                  <a:pt x="1" y="405"/>
                  <a:pt x="1" y="405"/>
                </a:cubicBezTo>
                <a:cubicBezTo>
                  <a:pt x="32" y="191"/>
                  <a:pt x="804" y="1"/>
                  <a:pt x="1048" y="0"/>
                </a:cubicBez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chemeClr val="tx2">
                  <a:shade val="30000"/>
                  <a:satMod val="115000"/>
                </a:schemeClr>
              </a:gs>
              <a:gs pos="50000">
                <a:schemeClr val="tx2">
                  <a:shade val="67500"/>
                  <a:satMod val="115000"/>
                </a:schemeClr>
              </a:gs>
              <a:gs pos="100000">
                <a:schemeClr val="tx2">
                  <a:shade val="100000"/>
                  <a:satMod val="115000"/>
                </a:schemeClr>
              </a:gs>
            </a:gsLst>
            <a:lin ang="16200000" scaled="1"/>
            <a:tileRect/>
          </a:gradFill>
          <a:ln w="9525">
            <a:noFill/>
            <a:round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/>
          <a:lstStyle/>
          <a:p>
            <a:pPr algn="ctr" eaLnBrk="0" hangingPunct="0">
              <a:lnSpc>
                <a:spcPct val="85000"/>
              </a:lnSpc>
              <a:defRPr/>
            </a:pPr>
            <a:endParaRPr lang="en-US" noProof="0" dirty="0"/>
          </a:p>
        </p:txBody>
      </p:sp>
      <p:sp>
        <p:nvSpPr>
          <p:cNvPr id="21" name="Rectangle 11"/>
          <p:cNvSpPr>
            <a:spLocks noChangeArrowheads="1"/>
          </p:cNvSpPr>
          <p:nvPr userDrawn="1"/>
        </p:nvSpPr>
        <p:spPr bwMode="auto">
          <a:xfrm>
            <a:off x="8208299" y="6305550"/>
            <a:ext cx="1705646" cy="246221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none" lIns="36000" rIns="72000">
            <a:spAutoFit/>
          </a:bodyPr>
          <a:lstStyle/>
          <a:p>
            <a:pPr algn="r" eaLnBrk="0" hangingPunct="0">
              <a:spcBef>
                <a:spcPct val="10000"/>
              </a:spcBef>
              <a:defRPr/>
            </a:pPr>
            <a:r>
              <a:rPr lang="en-US" altLang="en-US" sz="1000" noProof="0" dirty="0" smtClean="0">
                <a:solidFill>
                  <a:schemeClr val="tx1"/>
                </a:solidFill>
              </a:rPr>
              <a:t>| Sector, Alliance, Offering</a:t>
            </a:r>
            <a:endParaRPr lang="en-US" altLang="en-US" sz="1000" noProof="0" dirty="0">
              <a:solidFill>
                <a:schemeClr val="tx1"/>
              </a:solidFill>
            </a:endParaRPr>
          </a:p>
        </p:txBody>
      </p:sp>
      <p:sp>
        <p:nvSpPr>
          <p:cNvPr id="11" name="Rectangle 18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8632820" y="6554788"/>
            <a:ext cx="1265237" cy="104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36000" tIns="0" rIns="36000" bIns="0" numCol="1" anchor="ctr" anchorCtr="0" compatLnSpc="1">
            <a:prstTxWarp prst="textNoShape">
              <a:avLst/>
            </a:prstTxWarp>
            <a:spAutoFit/>
          </a:bodyPr>
          <a:lstStyle>
            <a:lvl1pPr algn="r" eaLnBrk="0" hangingPunct="0">
              <a:lnSpc>
                <a:spcPct val="85000"/>
              </a:lnSpc>
              <a:defRPr sz="800" b="0">
                <a:solidFill>
                  <a:schemeClr val="tx1"/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en-US" noProof="0" dirty="0"/>
          </a:p>
        </p:txBody>
      </p:sp>
      <p:sp>
        <p:nvSpPr>
          <p:cNvPr id="13" name="Rectangle 19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648000" y="6732000"/>
            <a:ext cx="252000" cy="104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36000" tIns="0" rIns="36000" bIns="0" numCol="1" anchor="ctr" anchorCtr="0" compatLnSpc="1">
            <a:prstTxWarp prst="textNoShape">
              <a:avLst/>
            </a:prstTxWarp>
            <a:spAutoFit/>
          </a:bodyPr>
          <a:lstStyle>
            <a:lvl1pPr algn="r" eaLnBrk="0" hangingPunct="0">
              <a:lnSpc>
                <a:spcPct val="85000"/>
              </a:lnSpc>
              <a:defRPr sz="800" b="0">
                <a:solidFill>
                  <a:srgbClr val="000000"/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9D48B0A8-A3BB-4090-A486-05597CC74740}" type="slidenum">
              <a:rPr lang="en-US" noProof="0"/>
              <a:pPr>
                <a:defRPr/>
              </a:pPr>
              <a:t>‹#›</a:t>
            </a:fld>
            <a:endParaRPr lang="en-US" noProof="0" dirty="0"/>
          </a:p>
        </p:txBody>
      </p:sp>
      <p:sp>
        <p:nvSpPr>
          <p:cNvPr id="14" name="Rectangle 17"/>
          <p:cNvSpPr>
            <a:spLocks noGrp="1" noChangeArrowheads="1"/>
          </p:cNvSpPr>
          <p:nvPr>
            <p:ph type="dt" sz="half" idx="2"/>
          </p:nvPr>
        </p:nvSpPr>
        <p:spPr>
          <a:xfrm>
            <a:off x="6787908" y="6692904"/>
            <a:ext cx="2880000" cy="165100"/>
          </a:xfrm>
          <a:prstGeom prst="rect">
            <a:avLst/>
          </a:prstGeom>
          <a:ln/>
        </p:spPr>
        <p:txBody>
          <a:bodyPr/>
          <a:lstStyle>
            <a:lvl1pPr algn="r" eaLnBrk="0" hangingPunct="0">
              <a:lnSpc>
                <a:spcPct val="85000"/>
              </a:lnSpc>
              <a:defRPr sz="600"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endParaRPr lang="en-US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png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2" Type="http://schemas.openxmlformats.org/officeDocument/2006/relationships/slideLayout" Target="../slideLayouts/slideLayout11.xml"/><Relationship Id="rId1" Type="http://schemas.openxmlformats.org/officeDocument/2006/relationships/slideLayout" Target="../slideLayouts/slideLayout10.xml"/><Relationship Id="rId5" Type="http://schemas.openxmlformats.org/officeDocument/2006/relationships/theme" Target="../theme/theme2.xml"/><Relationship Id="rId4" Type="http://schemas.openxmlformats.org/officeDocument/2006/relationships/slideLayout" Target="../slideLayouts/slideLayout1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2"/>
          <p:cNvSpPr>
            <a:spLocks noGrp="1" noChangeArrowheads="1"/>
          </p:cNvSpPr>
          <p:nvPr>
            <p:ph type="title"/>
          </p:nvPr>
        </p:nvSpPr>
        <p:spPr bwMode="black">
          <a:xfrm>
            <a:off x="0" y="0"/>
            <a:ext cx="9906000" cy="11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252000" rIns="72000" bIns="3600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smtClean="0"/>
              <a:t>Click to edit Master title style</a:t>
            </a:r>
          </a:p>
        </p:txBody>
      </p:sp>
      <p:sp>
        <p:nvSpPr>
          <p:cNvPr id="20" name="Rectangle 11"/>
          <p:cNvSpPr>
            <a:spLocks noChangeArrowheads="1"/>
          </p:cNvSpPr>
          <p:nvPr/>
        </p:nvSpPr>
        <p:spPr bwMode="auto">
          <a:xfrm>
            <a:off x="8200354" y="6305550"/>
            <a:ext cx="1705646" cy="246221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none" lIns="36000" rIns="72000">
            <a:spAutoFit/>
          </a:bodyPr>
          <a:lstStyle/>
          <a:p>
            <a:pPr algn="r" eaLnBrk="0" hangingPunct="0">
              <a:spcBef>
                <a:spcPct val="10000"/>
              </a:spcBef>
              <a:defRPr/>
            </a:pPr>
            <a:r>
              <a:rPr lang="en-US" altLang="en-US" sz="1000" noProof="0" dirty="0" smtClean="0">
                <a:solidFill>
                  <a:schemeClr val="tx1"/>
                </a:solidFill>
              </a:rPr>
              <a:t>| Sector, Alliance, Offering</a:t>
            </a:r>
            <a:endParaRPr lang="en-US" altLang="en-US" sz="1000" noProof="0" dirty="0">
              <a:solidFill>
                <a:schemeClr val="tx1"/>
              </a:solidFill>
            </a:endParaRPr>
          </a:p>
        </p:txBody>
      </p:sp>
      <p:pic>
        <p:nvPicPr>
          <p:cNvPr id="21" name="Picture 12" descr="OK_Capgemini"/>
          <p:cNvPicPr>
            <a:picLocks noChangeAspect="1" noChangeArrowheads="1"/>
          </p:cNvPicPr>
          <p:nvPr/>
        </p:nvPicPr>
        <p:blipFill>
          <a:blip r:embed="rId11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212720" y="6381750"/>
            <a:ext cx="1558925" cy="339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2" name="Rectangle 18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8632820" y="6554788"/>
            <a:ext cx="1265237" cy="104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36000" tIns="0" rIns="36000" bIns="0" numCol="1" anchor="ctr" anchorCtr="0" compatLnSpc="1">
            <a:prstTxWarp prst="textNoShape">
              <a:avLst/>
            </a:prstTxWarp>
            <a:spAutoFit/>
          </a:bodyPr>
          <a:lstStyle>
            <a:lvl1pPr algn="r" eaLnBrk="0" hangingPunct="0">
              <a:lnSpc>
                <a:spcPct val="85000"/>
              </a:lnSpc>
              <a:defRPr sz="800" b="0">
                <a:solidFill>
                  <a:schemeClr val="tx1"/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en-US" noProof="0" dirty="0"/>
          </a:p>
        </p:txBody>
      </p:sp>
      <p:sp>
        <p:nvSpPr>
          <p:cNvPr id="23" name="Rectangle 19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648000" y="6732000"/>
            <a:ext cx="252000" cy="104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36000" tIns="0" rIns="36000" bIns="0" numCol="1" anchor="ctr" anchorCtr="0" compatLnSpc="1">
            <a:prstTxWarp prst="textNoShape">
              <a:avLst/>
            </a:prstTxWarp>
            <a:spAutoFit/>
          </a:bodyPr>
          <a:lstStyle>
            <a:lvl1pPr algn="r" eaLnBrk="0" hangingPunct="0">
              <a:lnSpc>
                <a:spcPct val="85000"/>
              </a:lnSpc>
              <a:defRPr sz="800" b="0">
                <a:solidFill>
                  <a:srgbClr val="000000"/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9D48B0A8-A3BB-4090-A486-05597CC74740}" type="slidenum">
              <a:rPr lang="en-US" noProof="0"/>
              <a:pPr>
                <a:defRPr/>
              </a:pPr>
              <a:t>‹#›</a:t>
            </a:fld>
            <a:endParaRPr lang="en-US" noProof="0" dirty="0"/>
          </a:p>
        </p:txBody>
      </p:sp>
      <p:sp>
        <p:nvSpPr>
          <p:cNvPr id="24" name="Rectangle 26"/>
          <p:cNvSpPr>
            <a:spLocks noChangeArrowheads="1"/>
          </p:cNvSpPr>
          <p:nvPr/>
        </p:nvSpPr>
        <p:spPr bwMode="auto">
          <a:xfrm>
            <a:off x="-7943" y="6286500"/>
            <a:ext cx="9907200" cy="17463"/>
          </a:xfrm>
          <a:prstGeom prst="rect">
            <a:avLst/>
          </a:prstGeom>
          <a:gradFill rotWithShape="1">
            <a:gsLst>
              <a:gs pos="0">
                <a:schemeClr val="tx2">
                  <a:gamma/>
                  <a:tint val="22353"/>
                  <a:invGamma/>
                </a:schemeClr>
              </a:gs>
              <a:gs pos="100000">
                <a:schemeClr val="tx2"/>
              </a:gs>
            </a:gsLst>
            <a:lin ang="0" scaled="1"/>
          </a:gradFill>
          <a:ln w="9525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 eaLnBrk="0" hangingPunct="0">
              <a:lnSpc>
                <a:spcPct val="85000"/>
              </a:lnSpc>
              <a:defRPr/>
            </a:pPr>
            <a:endParaRPr lang="en-US" noProof="0" dirty="0"/>
          </a:p>
        </p:txBody>
      </p:sp>
      <p:sp>
        <p:nvSpPr>
          <p:cNvPr id="25" name="Rectangle 17"/>
          <p:cNvSpPr>
            <a:spLocks noGrp="1" noChangeArrowheads="1"/>
          </p:cNvSpPr>
          <p:nvPr>
            <p:ph type="dt" sz="half" idx="2"/>
          </p:nvPr>
        </p:nvSpPr>
        <p:spPr>
          <a:xfrm>
            <a:off x="6787908" y="6692904"/>
            <a:ext cx="2880000" cy="165100"/>
          </a:xfrm>
          <a:prstGeom prst="rect">
            <a:avLst/>
          </a:prstGeom>
          <a:ln/>
        </p:spPr>
        <p:txBody>
          <a:bodyPr/>
          <a:lstStyle>
            <a:lvl1pPr algn="r" eaLnBrk="0" hangingPunct="0">
              <a:lnSpc>
                <a:spcPct val="85000"/>
              </a:lnSpc>
              <a:defRPr sz="600"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endParaRPr lang="en-US" dirty="0"/>
          </a:p>
        </p:txBody>
      </p:sp>
      <p:grpSp>
        <p:nvGrpSpPr>
          <p:cNvPr id="26" name="Groupe 25"/>
          <p:cNvGrpSpPr/>
          <p:nvPr/>
        </p:nvGrpSpPr>
        <p:grpSpPr>
          <a:xfrm>
            <a:off x="-7943" y="0"/>
            <a:ext cx="3457575" cy="1235075"/>
            <a:chOff x="0" y="0"/>
            <a:chExt cx="3457575" cy="1235075"/>
          </a:xfrm>
        </p:grpSpPr>
        <p:sp>
          <p:nvSpPr>
            <p:cNvPr id="27" name="Freeform 23"/>
            <p:cNvSpPr>
              <a:spLocks/>
            </p:cNvSpPr>
            <p:nvPr/>
          </p:nvSpPr>
          <p:spPr bwMode="auto">
            <a:xfrm>
              <a:off x="0" y="0"/>
              <a:ext cx="3457575" cy="1235075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" y="405"/>
                </a:cxn>
                <a:cxn ang="0">
                  <a:pos x="1048" y="0"/>
                </a:cxn>
                <a:cxn ang="0">
                  <a:pos x="0" y="0"/>
                </a:cxn>
              </a:cxnLst>
              <a:rect l="0" t="0" r="r" b="b"/>
              <a:pathLst>
                <a:path w="1048" h="405">
                  <a:moveTo>
                    <a:pt x="0" y="0"/>
                  </a:moveTo>
                  <a:cubicBezTo>
                    <a:pt x="1" y="405"/>
                    <a:pt x="1" y="405"/>
                    <a:pt x="1" y="405"/>
                  </a:cubicBezTo>
                  <a:cubicBezTo>
                    <a:pt x="32" y="191"/>
                    <a:pt x="804" y="1"/>
                    <a:pt x="1048" y="0"/>
                  </a:cubicBezTo>
                  <a:lnTo>
                    <a:pt x="0" y="0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tx2">
                    <a:shade val="30000"/>
                    <a:satMod val="115000"/>
                  </a:schemeClr>
                </a:gs>
                <a:gs pos="50000">
                  <a:schemeClr val="tx2">
                    <a:shade val="67500"/>
                    <a:satMod val="115000"/>
                  </a:schemeClr>
                </a:gs>
                <a:gs pos="100000">
                  <a:schemeClr val="tx2">
                    <a:shade val="100000"/>
                    <a:satMod val="115000"/>
                  </a:schemeClr>
                </a:gs>
              </a:gsLst>
              <a:lin ang="16200000" scaled="1"/>
              <a:tileRect/>
            </a:gradFill>
            <a:ln w="9525">
              <a:noFill/>
              <a:round/>
              <a:headEnd/>
              <a:tailEnd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txBody>
            <a:bodyPr/>
            <a:lstStyle/>
            <a:p>
              <a:pPr algn="ctr" eaLnBrk="0" hangingPunct="0">
                <a:lnSpc>
                  <a:spcPct val="85000"/>
                </a:lnSpc>
                <a:defRPr/>
              </a:pPr>
              <a:endParaRPr lang="en-US" noProof="0" dirty="0"/>
            </a:p>
          </p:txBody>
        </p:sp>
        <p:pic>
          <p:nvPicPr>
            <p:cNvPr id="28" name="Image 27" descr="CBE_Label_pptCorner.png"/>
            <p:cNvPicPr>
              <a:picLocks noChangeAspect="1"/>
            </p:cNvPicPr>
            <p:nvPr userDrawn="1"/>
          </p:nvPicPr>
          <p:blipFill>
            <a:blip r:embed="rId12" cstate="screen"/>
            <a:stretch>
              <a:fillRect/>
            </a:stretch>
          </p:blipFill>
          <p:spPr>
            <a:xfrm>
              <a:off x="160304" y="119554"/>
              <a:ext cx="524166" cy="522000"/>
            </a:xfrm>
            <a:prstGeom prst="rect">
              <a:avLst/>
            </a:prstGeom>
          </p:spPr>
        </p:pic>
      </p:grpSp>
      <p:sp>
        <p:nvSpPr>
          <p:cNvPr id="29" name="Espace réservé du texte 28"/>
          <p:cNvSpPr>
            <a:spLocks noGrp="1"/>
          </p:cNvSpPr>
          <p:nvPr>
            <p:ph type="body" idx="1"/>
          </p:nvPr>
        </p:nvSpPr>
        <p:spPr>
          <a:xfrm>
            <a:off x="0" y="1440000"/>
            <a:ext cx="9906000" cy="468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288000" tIns="36000" rIns="72000" bIns="3600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  <a:p>
            <a:pPr lvl="4"/>
            <a:r>
              <a:rPr lang="en-US" noProof="0" dirty="0" smtClean="0"/>
              <a:t>Text style level 5</a:t>
            </a:r>
            <a:endParaRPr lang="en-US" noProof="0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0" r:id="rId1"/>
    <p:sldLayoutId id="2147483662" r:id="rId2"/>
    <p:sldLayoutId id="2147483663" r:id="rId3"/>
    <p:sldLayoutId id="2147483664" r:id="rId4"/>
    <p:sldLayoutId id="2147483665" r:id="rId5"/>
    <p:sldLayoutId id="2147483667" r:id="rId6"/>
    <p:sldLayoutId id="2147483670" r:id="rId7"/>
    <p:sldLayoutId id="2147483668" r:id="rId8"/>
    <p:sldLayoutId id="2147483649" r:id="rId9"/>
  </p:sldLayoutIdLst>
  <p:hf sldNum="0" hdr="0" ftr="0"/>
  <p:txStyles>
    <p:titleStyle>
      <a:lvl1pPr marL="714375" indent="-714375" algn="ctr" defTabSz="914400" rtl="0" eaLnBrk="1" fontAlgn="base" latinLnBrk="0" hangingPunct="1">
        <a:lnSpc>
          <a:spcPct val="90000"/>
        </a:lnSpc>
        <a:spcBef>
          <a:spcPct val="0"/>
        </a:spcBef>
        <a:spcAft>
          <a:spcPct val="0"/>
        </a:spcAft>
        <a:buNone/>
        <a:defRPr lang="en-US" sz="3000" b="1" kern="1200" noProof="0" dirty="0" smtClean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269875" indent="-269875" algn="l" defTabSz="714375" rtl="0" eaLnBrk="1" fontAlgn="base" latinLnBrk="0" hangingPunct="1">
        <a:spcBef>
          <a:spcPct val="20000"/>
        </a:spcBef>
        <a:spcAft>
          <a:spcPct val="0"/>
        </a:spcAft>
        <a:buClr>
          <a:schemeClr val="tx2"/>
        </a:buClr>
        <a:buFont typeface="Wingdings" pitchFamily="2" charset="2"/>
        <a:buChar char="§"/>
        <a:defRPr lang="fr-FR" sz="2400" kern="1200" baseline="0" noProof="0" dirty="0" smtClean="0">
          <a:solidFill>
            <a:schemeClr val="tx1"/>
          </a:solidFill>
          <a:latin typeface="+mn-lt"/>
          <a:ea typeface="+mn-ea"/>
          <a:cs typeface="+mn-cs"/>
        </a:defRPr>
      </a:lvl1pPr>
      <a:lvl2pPr marL="539750" indent="-166688" algn="l" defTabSz="714375" rtl="0" eaLnBrk="1" fontAlgn="base" latinLnBrk="0" hangingPunct="1">
        <a:spcBef>
          <a:spcPct val="20000"/>
        </a:spcBef>
        <a:spcAft>
          <a:spcPct val="0"/>
        </a:spcAft>
        <a:buClr>
          <a:schemeClr val="accent2"/>
        </a:buClr>
        <a:buFont typeface="Arial" pitchFamily="34" charset="0"/>
        <a:buChar char="•"/>
        <a:defRPr lang="fr-FR" sz="2000" kern="1200" baseline="0" noProof="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717550" indent="-177800" algn="l" defTabSz="714375" rtl="0" eaLnBrk="1" fontAlgn="base" latinLnBrk="0" hangingPunct="1">
        <a:spcBef>
          <a:spcPct val="20000"/>
        </a:spcBef>
        <a:spcAft>
          <a:spcPct val="0"/>
        </a:spcAft>
        <a:buClr>
          <a:schemeClr val="accent1"/>
        </a:buClr>
        <a:buFont typeface="Courier New" pitchFamily="49" charset="0"/>
        <a:buChar char="o"/>
        <a:defRPr lang="fr-FR" sz="1800" kern="1200" noProof="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987425" indent="-176213" algn="l" defTabSz="714375" rtl="0" eaLnBrk="1" fontAlgn="base" latinLnBrk="0" hangingPunct="1">
        <a:spcBef>
          <a:spcPct val="20000"/>
        </a:spcBef>
        <a:spcAft>
          <a:spcPct val="0"/>
        </a:spcAft>
        <a:buClr>
          <a:schemeClr val="accent3"/>
        </a:buClr>
        <a:buFont typeface="Arial" pitchFamily="34" charset="0"/>
        <a:buChar char="–"/>
        <a:defRPr lang="fr-FR" sz="1600" kern="1200" baseline="0" noProof="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1257300" indent="-176213" algn="l" defTabSz="714375" rtl="0" eaLnBrk="1" fontAlgn="base" latinLnBrk="0" hangingPunct="1">
        <a:spcBef>
          <a:spcPct val="20000"/>
        </a:spcBef>
        <a:spcAft>
          <a:spcPct val="0"/>
        </a:spcAft>
        <a:buFont typeface="Arial" pitchFamily="34" charset="0"/>
        <a:buChar char="»"/>
        <a:defRPr lang="en-US" sz="1400" kern="1200" noProof="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 bg1="lt1" tx1="dk1" bg2="lt2" tx2="dk2" accent1="accent1" accent2="accent2" accent3="accent3" accent4="accent4" accent5="accent5" accent6="accent6" hlink="hlink" folHlink="folHlink"/>
  <p:sldLayoutIdLst>
    <p:sldLayoutId id="2147483674" r:id="rId1"/>
    <p:sldLayoutId id="2147483677" r:id="rId2"/>
    <p:sldLayoutId id="2147483678" r:id="rId3"/>
    <p:sldLayoutId id="2147483680" r:id="rId4"/>
  </p:sldLayoutIdLst>
  <p:hf sldNum="0" hdr="0" ftr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GB" sz="4000" dirty="0" smtClean="0"/>
              <a:t>SAP UI5 – Intermediate Level</a:t>
            </a:r>
            <a:endParaRPr lang="en-US" sz="400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>UI5I-UI5-03 : SAP UI5 Application Best Practices </a:t>
            </a:r>
            <a:endParaRPr lang="en-US" dirty="0"/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AP UI5 Application Best Practices 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2000" dirty="0" smtClean="0"/>
              <a:t>Preparing</a:t>
            </a:r>
          </a:p>
          <a:p>
            <a:r>
              <a:rPr lang="en-US" sz="2000" dirty="0" smtClean="0"/>
              <a:t>Building</a:t>
            </a:r>
          </a:p>
          <a:p>
            <a:pPr lvl="1"/>
            <a:r>
              <a:rPr lang="en-US" dirty="0" smtClean="0"/>
              <a:t>Index</a:t>
            </a:r>
          </a:p>
          <a:p>
            <a:pPr lvl="1"/>
            <a:r>
              <a:rPr lang="en-US" dirty="0" smtClean="0"/>
              <a:t>Component</a:t>
            </a:r>
          </a:p>
          <a:p>
            <a:pPr lvl="1"/>
            <a:r>
              <a:rPr lang="en-US" dirty="0" smtClean="0"/>
              <a:t>Navigation and Routing</a:t>
            </a:r>
          </a:p>
          <a:p>
            <a:pPr lvl="1"/>
            <a:r>
              <a:rPr lang="en-US" dirty="0" smtClean="0"/>
              <a:t>Internationalization</a:t>
            </a:r>
          </a:p>
          <a:p>
            <a:pPr lvl="1"/>
            <a:r>
              <a:rPr lang="en-US" dirty="0" smtClean="0"/>
              <a:t>Device Model</a:t>
            </a:r>
          </a:p>
          <a:p>
            <a:pPr lvl="1"/>
            <a:r>
              <a:rPr lang="en-US" dirty="0" smtClean="0"/>
              <a:t>Custom Utilities</a:t>
            </a:r>
          </a:p>
          <a:p>
            <a:pPr lvl="1"/>
            <a:r>
              <a:rPr lang="en-US" dirty="0" smtClean="0"/>
              <a:t>Model View Controller</a:t>
            </a:r>
          </a:p>
          <a:p>
            <a:pPr lvl="1"/>
            <a:r>
              <a:rPr lang="en-US" dirty="0" smtClean="0"/>
              <a:t>Master View</a:t>
            </a:r>
          </a:p>
          <a:p>
            <a:pPr lvl="1"/>
            <a:r>
              <a:rPr lang="en-US" dirty="0" smtClean="0"/>
              <a:t>Detail View</a:t>
            </a:r>
          </a:p>
          <a:p>
            <a:pPr lvl="1"/>
            <a:r>
              <a:rPr lang="en-US" dirty="0" smtClean="0"/>
              <a:t>Detail XML Fragments</a:t>
            </a:r>
          </a:p>
          <a:p>
            <a:endParaRPr lang="en-US" sz="200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AP UI5 Application Best Practices 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2000" dirty="0" smtClean="0"/>
              <a:t>Coding Issues to Avoid</a:t>
            </a:r>
          </a:p>
          <a:p>
            <a:pPr lvl="2">
              <a:buFont typeface="Arial" pitchFamily="34" charset="0"/>
              <a:buChar char="•"/>
            </a:pPr>
            <a:r>
              <a:rPr lang="en-US" sz="2000" dirty="0" smtClean="0"/>
              <a:t>JavaScript Code Issues</a:t>
            </a:r>
          </a:p>
          <a:p>
            <a:pPr lvl="2">
              <a:buFont typeface="Arial" pitchFamily="34" charset="0"/>
              <a:buChar char="•"/>
            </a:pPr>
            <a:r>
              <a:rPr lang="en-US" sz="2000" dirty="0" smtClean="0"/>
              <a:t>CSS Styling Issues</a:t>
            </a:r>
          </a:p>
          <a:p>
            <a:endParaRPr lang="en-US" sz="200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AP UI5 Application Best Practices 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2000" dirty="0" smtClean="0"/>
              <a:t>JavaScript Coding Issues</a:t>
            </a:r>
          </a:p>
          <a:p>
            <a:pPr lvl="1"/>
            <a:r>
              <a:rPr lang="en-US" dirty="0" smtClean="0"/>
              <a:t>Don't use private and protected methods or properties of UI5</a:t>
            </a:r>
          </a:p>
          <a:p>
            <a:pPr lvl="1"/>
            <a:r>
              <a:rPr lang="en-US" dirty="0" smtClean="0"/>
              <a:t>Don't use deprecated APIs</a:t>
            </a:r>
          </a:p>
          <a:p>
            <a:pPr lvl="1"/>
            <a:r>
              <a:rPr lang="en-US" dirty="0" smtClean="0"/>
              <a:t>Don't override or add control methods</a:t>
            </a:r>
          </a:p>
          <a:p>
            <a:pPr lvl="1"/>
            <a:r>
              <a:rPr lang="en-US" dirty="0" smtClean="0"/>
              <a:t>Don't manipulate the DOM structure within controls</a:t>
            </a:r>
          </a:p>
          <a:p>
            <a:pPr lvl="1"/>
            <a:r>
              <a:rPr lang="sv-SE" dirty="0" smtClean="0"/>
              <a:t>Don't attach DOM event handlers</a:t>
            </a:r>
          </a:p>
          <a:p>
            <a:pPr lvl="1"/>
            <a:r>
              <a:rPr lang="en-US" dirty="0" smtClean="0"/>
              <a:t>Don't hard code or concatenate strings that need to be translatable</a:t>
            </a:r>
          </a:p>
          <a:p>
            <a:pPr lvl="1"/>
            <a:r>
              <a:rPr lang="en-US" dirty="0" smtClean="0"/>
              <a:t>Don’t use console.log()</a:t>
            </a:r>
          </a:p>
          <a:p>
            <a:pPr lvl="2"/>
            <a:r>
              <a:rPr lang="en-US" sz="2000" dirty="0" smtClean="0"/>
              <a:t>Use “jQuery.sap.log.info("some message");”</a:t>
            </a:r>
          </a:p>
          <a:p>
            <a:pPr lvl="2"/>
            <a:endParaRPr lang="en-US" sz="2000" dirty="0" smtClean="0"/>
          </a:p>
          <a:p>
            <a:endParaRPr lang="en-US" sz="200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AP UI5 Application Best Practices 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2000" b="1" dirty="0" smtClean="0"/>
              <a:t>CSS Styling Issues</a:t>
            </a:r>
          </a:p>
          <a:p>
            <a:pPr lvl="1"/>
            <a:r>
              <a:rPr lang="en-US" dirty="0" smtClean="0"/>
              <a:t>Don't override control class styling directly</a:t>
            </a:r>
          </a:p>
          <a:p>
            <a:pPr lvl="1"/>
            <a:r>
              <a:rPr lang="en-US" dirty="0" smtClean="0"/>
              <a:t>Don't style DOM element names directly</a:t>
            </a:r>
          </a:p>
          <a:p>
            <a:pPr lvl="1"/>
            <a:r>
              <a:rPr lang="en-US" dirty="0" smtClean="0"/>
              <a:t>Don't use generated IDs in CSS selectors</a:t>
            </a:r>
          </a:p>
          <a:p>
            <a:pPr lvl="1"/>
            <a:r>
              <a:rPr lang="en-US" dirty="0" smtClean="0"/>
              <a:t>Don't use hard-coded colors, font sizes and images if the app should be </a:t>
            </a:r>
            <a:r>
              <a:rPr lang="en-US" dirty="0" err="1" smtClean="0"/>
              <a:t>themable</a:t>
            </a:r>
            <a:endParaRPr lang="en-US" dirty="0" smtClean="0"/>
          </a:p>
          <a:p>
            <a:endParaRPr lang="en-US" sz="200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746" name="AutoShape 2" descr="Image result for thank you slide"/>
          <p:cNvSpPr>
            <a:spLocks noChangeAspect="1" noChangeArrowheads="1"/>
          </p:cNvSpPr>
          <p:nvPr/>
        </p:nvSpPr>
        <p:spPr bwMode="auto">
          <a:xfrm>
            <a:off x="168540" y="-144463"/>
            <a:ext cx="3302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pic>
        <p:nvPicPr>
          <p:cNvPr id="31748" name="Picture 4" descr="https://encrypted-tbn2.gstatic.com/images?q=tbn:ANd9GcSIZaCvEGKwEr_Vhn8La-WvQB9iHVYcx4LZ6mpZ530gVwAqT9SN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559050" y="1295400"/>
            <a:ext cx="5173133" cy="3581400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izCDI3sCkiGOfdTrEEhR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izCDI3sCkiGOfdTrEEhRg"/>
</p:tagLst>
</file>

<file path=ppt/theme/theme1.xml><?xml version="1.0" encoding="utf-8"?>
<a:theme xmlns:a="http://schemas.openxmlformats.org/drawingml/2006/main" name="Capgemini ppt template">
  <a:themeElements>
    <a:clrScheme name="Capgemini Palette">
      <a:dk1>
        <a:srgbClr val="000000"/>
      </a:dk1>
      <a:lt1>
        <a:srgbClr val="FFFFFF"/>
      </a:lt1>
      <a:dk2>
        <a:srgbClr val="009BCC"/>
      </a:dk2>
      <a:lt2>
        <a:srgbClr val="FFFFFF"/>
      </a:lt2>
      <a:accent1>
        <a:srgbClr val="FFBC1D"/>
      </a:accent1>
      <a:accent2>
        <a:srgbClr val="E65A0F"/>
      </a:accent2>
      <a:accent3>
        <a:srgbClr val="C8C500"/>
      </a:accent3>
      <a:accent4>
        <a:srgbClr val="C42F36"/>
      </a:accent4>
      <a:accent5>
        <a:srgbClr val="B4DFEE"/>
      </a:accent5>
      <a:accent6>
        <a:srgbClr val="E65A0F"/>
      </a:accent6>
      <a:hlink>
        <a:srgbClr val="4D740F"/>
      </a:hlink>
      <a:folHlink>
        <a:srgbClr val="C42F36"/>
      </a:folHlink>
    </a:clrScheme>
    <a:fontScheme name="Capgemini">
      <a:majorFont>
        <a:latin typeface="Arial Narrow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Conception personnalisée">
  <a:themeElements>
    <a:clrScheme name="Capgemini Palette">
      <a:dk1>
        <a:srgbClr val="000000"/>
      </a:dk1>
      <a:lt1>
        <a:srgbClr val="FFFFFF"/>
      </a:lt1>
      <a:dk2>
        <a:srgbClr val="009BCC"/>
      </a:dk2>
      <a:lt2>
        <a:srgbClr val="FFFFFF"/>
      </a:lt2>
      <a:accent1>
        <a:srgbClr val="FFBC1D"/>
      </a:accent1>
      <a:accent2>
        <a:srgbClr val="E65A0F"/>
      </a:accent2>
      <a:accent3>
        <a:srgbClr val="C8C500"/>
      </a:accent3>
      <a:accent4>
        <a:srgbClr val="C42F36"/>
      </a:accent4>
      <a:accent5>
        <a:srgbClr val="B4DFEE"/>
      </a:accent5>
      <a:accent6>
        <a:srgbClr val="E65A0F"/>
      </a:accent6>
      <a:hlink>
        <a:srgbClr val="4D740F"/>
      </a:hlink>
      <a:folHlink>
        <a:srgbClr val="C42F36"/>
      </a:folHlink>
    </a:clrScheme>
    <a:fontScheme name="Capgemini">
      <a:majorFont>
        <a:latin typeface="Arial Narrow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Capgemini">
      <a:majorFont>
        <a:latin typeface="Arial Narrow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Capgemini">
      <a:majorFont>
        <a:latin typeface="Arial Narrow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701F777920F58F449DFE723C8ECB983A" ma:contentTypeVersion="10" ma:contentTypeDescription="Create a new document." ma:contentTypeScope="" ma:versionID="a34f216e8c15b786b813182c657c2c45">
  <xsd:schema xmlns:xsd="http://www.w3.org/2001/XMLSchema" xmlns:xs="http://www.w3.org/2001/XMLSchema" xmlns:p="http://schemas.microsoft.com/office/2006/metadata/properties" xmlns:ns2="872c2c8c-4a2d-4282-b3ae-965d5e263694" xmlns:ns3="35517446-20c8-4dbf-81a7-e8d1b5f96f52" targetNamespace="http://schemas.microsoft.com/office/2006/metadata/properties" ma:root="true" ma:fieldsID="35f86e32a74b6162c7d73e32434781eb" ns2:_="" ns3:_="">
    <xsd:import namespace="872c2c8c-4a2d-4282-b3ae-965d5e263694"/>
    <xsd:import namespace="35517446-20c8-4dbf-81a7-e8d1b5f96f52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AutoKeyPoints" minOccurs="0"/>
                <xsd:element ref="ns2:MediaServiceKeyPoints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72c2c8c-4a2d-4282-b3ae-965d5e263694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4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5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5517446-20c8-4dbf-81a7-e8d1b5f96f52" elementFormDefault="qualified">
    <xsd:import namespace="http://schemas.microsoft.com/office/2006/documentManagement/types"/>
    <xsd:import namespace="http://schemas.microsoft.com/office/infopath/2007/PartnerControls"/>
    <xsd:element name="SharedWithUsers" ma:index="16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7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BB85A4C-3367-4E0B-999B-DEE19ED4E6F6}">
  <ds:schemaRefs>
    <ds:schemaRef ds:uri="http://schemas.microsoft.com/office/2006/metadata/properties"/>
    <ds:schemaRef ds:uri="http://schemas.microsoft.com/office/infopath/2007/PartnerControls"/>
  </ds:schemaRefs>
</ds:datastoreItem>
</file>

<file path=customXml/itemProps2.xml><?xml version="1.0" encoding="utf-8"?>
<ds:datastoreItem xmlns:ds="http://schemas.openxmlformats.org/officeDocument/2006/customXml" ds:itemID="{4C67A448-24A0-40F4-8198-FE1A45D44CE2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1304332B-CDB7-41E2-9C85-E6FD0B99A6C5}"/>
</file>

<file path=docProps/app.xml><?xml version="1.0" encoding="utf-8"?>
<Properties xmlns="http://schemas.openxmlformats.org/officeDocument/2006/extended-properties" xmlns:vt="http://schemas.openxmlformats.org/officeDocument/2006/docPropsVTypes">
  <Template>Capgemini ppt template</Template>
  <TotalTime>1686</TotalTime>
  <Words>167</Words>
  <Application>Microsoft Office PowerPoint</Application>
  <PresentationFormat>A4 Paper (210x297 mm)</PresentationFormat>
  <Paragraphs>37</Paragraphs>
  <Slides>7</Slides>
  <Notes>1</Notes>
  <HiddenSlides>0</HiddenSlides>
  <MMClips>0</MMClips>
  <ScaleCrop>false</ScaleCrop>
  <HeadingPairs>
    <vt:vector size="6" baseType="variant">
      <vt:variant>
        <vt:lpstr>Fonts Used</vt:lpstr>
      </vt:variant>
      <vt:variant>
        <vt:i4>4</vt:i4>
      </vt:variant>
      <vt:variant>
        <vt:lpstr>Theme</vt:lpstr>
      </vt:variant>
      <vt:variant>
        <vt:i4>2</vt:i4>
      </vt:variant>
      <vt:variant>
        <vt:lpstr>Slide Titles</vt:lpstr>
      </vt:variant>
      <vt:variant>
        <vt:i4>7</vt:i4>
      </vt:variant>
    </vt:vector>
  </HeadingPairs>
  <TitlesOfParts>
    <vt:vector size="13" baseType="lpstr">
      <vt:lpstr>Arial</vt:lpstr>
      <vt:lpstr>Arial Narrow</vt:lpstr>
      <vt:lpstr>Courier New</vt:lpstr>
      <vt:lpstr>Wingdings</vt:lpstr>
      <vt:lpstr>Capgemini ppt template</vt:lpstr>
      <vt:lpstr>Conception personnalisée</vt:lpstr>
      <vt:lpstr>SAP UI5 – Intermediate Level</vt:lpstr>
      <vt:lpstr>UI5I-UI5-03 : SAP UI5 Application Best Practices </vt:lpstr>
      <vt:lpstr>SAP UI5 Application Best Practices </vt:lpstr>
      <vt:lpstr>SAP UI5 Application Best Practices </vt:lpstr>
      <vt:lpstr>SAP UI5 Application Best Practices </vt:lpstr>
      <vt:lpstr>SAP UI5 Application Best Practices </vt:lpstr>
      <vt:lpstr>PowerPoint Presentation</vt:lpstr>
    </vt:vector>
  </TitlesOfParts>
  <Company>Capgemini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AP NetWeaver Gateway</dc:title>
  <dc:subject>SAP NetWeaver Gateway</dc:subject>
  <dc:creator>Syam</dc:creator>
  <cp:keywords>SAP</cp:keywords>
  <cp:lastModifiedBy>Bhangale, Prasanna</cp:lastModifiedBy>
  <cp:revision>417</cp:revision>
  <dcterms:created xsi:type="dcterms:W3CDTF">2011-08-17T05:35:48Z</dcterms:created>
  <dcterms:modified xsi:type="dcterms:W3CDTF">2021-03-08T16:11:1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Department">
    <vt:lpwstr>SAP Mobility CoE</vt:lpwstr>
  </property>
  <property fmtid="{D5CDD505-2E9C-101B-9397-08002B2CF9AE}" pid="3" name="Owner">
    <vt:lpwstr>Venkata Subramani Renduchintala</vt:lpwstr>
  </property>
  <property fmtid="{D5CDD505-2E9C-101B-9397-08002B2CF9AE}" pid="4" name="Mailstop">
    <vt:lpwstr>venkata.renduchintala@capgemini.com</vt:lpwstr>
  </property>
  <property fmtid="{D5CDD505-2E9C-101B-9397-08002B2CF9AE}" pid="5" name="Office">
    <vt:lpwstr>CG Bangalore 4B, 5th floor</vt:lpwstr>
  </property>
  <property fmtid="{D5CDD505-2E9C-101B-9397-08002B2CF9AE}" pid="6" name="Version">
    <vt:lpwstr>1.1</vt:lpwstr>
  </property>
  <property fmtid="{D5CDD505-2E9C-101B-9397-08002B2CF9AE}" pid="7" name="ContentTypeId">
    <vt:lpwstr>0x010100701F777920F58F449DFE723C8ECB983A</vt:lpwstr>
  </property>
</Properties>
</file>